
<file path=[Content_Types].xml><?xml version="1.0" encoding="utf-8"?>
<Types xmlns="http://schemas.openxmlformats.org/package/2006/content-types">
  <Default Extension="png" ContentType="image/png"/>
  <Default Extension="mp3" ContentType="audio/mpe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1"/>
    <p:sldMasterId id="2147483747" r:id="rId2"/>
    <p:sldMasterId id="2147483735" r:id="rId3"/>
    <p:sldMasterId id="2147483693" r:id="rId4"/>
    <p:sldMasterId id="2147483717" r:id="rId5"/>
  </p:sldMasterIdLst>
  <p:notesMasterIdLst>
    <p:notesMasterId r:id="rId47"/>
  </p:notesMasterIdLst>
  <p:sldIdLst>
    <p:sldId id="257" r:id="rId6"/>
    <p:sldId id="260" r:id="rId7"/>
    <p:sldId id="263" r:id="rId8"/>
    <p:sldId id="267" r:id="rId9"/>
    <p:sldId id="265" r:id="rId10"/>
    <p:sldId id="268" r:id="rId11"/>
    <p:sldId id="298" r:id="rId12"/>
    <p:sldId id="299" r:id="rId13"/>
    <p:sldId id="300" r:id="rId14"/>
    <p:sldId id="301" r:id="rId15"/>
    <p:sldId id="303" r:id="rId16"/>
    <p:sldId id="302" r:id="rId17"/>
    <p:sldId id="269" r:id="rId18"/>
    <p:sldId id="271" r:id="rId19"/>
    <p:sldId id="304" r:id="rId20"/>
    <p:sldId id="273" r:id="rId21"/>
    <p:sldId id="274" r:id="rId22"/>
    <p:sldId id="275" r:id="rId23"/>
    <p:sldId id="276" r:id="rId24"/>
    <p:sldId id="280" r:id="rId25"/>
    <p:sldId id="277" r:id="rId26"/>
    <p:sldId id="279" r:id="rId27"/>
    <p:sldId id="281" r:id="rId28"/>
    <p:sldId id="282" r:id="rId29"/>
    <p:sldId id="283" r:id="rId30"/>
    <p:sldId id="284" r:id="rId31"/>
    <p:sldId id="287" r:id="rId32"/>
    <p:sldId id="286" r:id="rId33"/>
    <p:sldId id="289" r:id="rId34"/>
    <p:sldId id="290" r:id="rId35"/>
    <p:sldId id="291" r:id="rId36"/>
    <p:sldId id="292" r:id="rId37"/>
    <p:sldId id="293" r:id="rId38"/>
    <p:sldId id="288" r:id="rId39"/>
    <p:sldId id="307" r:id="rId40"/>
    <p:sldId id="294" r:id="rId41"/>
    <p:sldId id="295" r:id="rId42"/>
    <p:sldId id="296" r:id="rId43"/>
    <p:sldId id="270" r:id="rId44"/>
    <p:sldId id="306" r:id="rId45"/>
    <p:sldId id="305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2364" autoAdjust="0"/>
  </p:normalViewPr>
  <p:slideViewPr>
    <p:cSldViewPr snapToGrid="0">
      <p:cViewPr>
        <p:scale>
          <a:sx n="67" d="100"/>
          <a:sy n="67" d="100"/>
        </p:scale>
        <p:origin x="85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AAED72-AF13-4D29-80DF-F0B77F5574E4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0F40B753-7D0E-47D8-96AE-0DFC4F615A3C}">
      <dgm:prSet phldrT="[Text]"/>
      <dgm:spPr/>
      <dgm:t>
        <a:bodyPr/>
        <a:lstStyle/>
        <a:p>
          <a:endParaRPr lang="en-US" dirty="0"/>
        </a:p>
      </dgm:t>
    </dgm:pt>
    <dgm:pt modelId="{2A5FEBC0-0E27-454F-8649-D2252DFC5EC8}" type="parTrans" cxnId="{F5B57006-4375-417E-8FBA-8AC5B09363AB}">
      <dgm:prSet/>
      <dgm:spPr/>
      <dgm:t>
        <a:bodyPr/>
        <a:lstStyle/>
        <a:p>
          <a:endParaRPr lang="en-US"/>
        </a:p>
      </dgm:t>
    </dgm:pt>
    <dgm:pt modelId="{44B60B19-013E-4115-8CEA-A49BE9D36DC8}" type="sibTrans" cxnId="{F5B57006-4375-417E-8FBA-8AC5B09363AB}">
      <dgm:prSet/>
      <dgm:spPr/>
      <dgm:t>
        <a:bodyPr/>
        <a:lstStyle/>
        <a:p>
          <a:endParaRPr lang="en-US"/>
        </a:p>
      </dgm:t>
    </dgm:pt>
    <dgm:pt modelId="{CB079D6E-E4D0-4FCC-9308-BB737DE764CE}">
      <dgm:prSet phldrT="[Text]"/>
      <dgm:spPr/>
      <dgm:t>
        <a:bodyPr/>
        <a:lstStyle/>
        <a:p>
          <a:endParaRPr lang="en-US" dirty="0"/>
        </a:p>
      </dgm:t>
    </dgm:pt>
    <dgm:pt modelId="{DA5A402A-856F-4ACE-B968-CB28E7D47F2E}" type="parTrans" cxnId="{4585A65B-9F09-41C0-9950-4C1F8515CF33}">
      <dgm:prSet/>
      <dgm:spPr/>
      <dgm:t>
        <a:bodyPr/>
        <a:lstStyle/>
        <a:p>
          <a:endParaRPr lang="en-US"/>
        </a:p>
      </dgm:t>
    </dgm:pt>
    <dgm:pt modelId="{3A72BAF9-8914-45F3-B137-257F2AE554F4}" type="sibTrans" cxnId="{4585A65B-9F09-41C0-9950-4C1F8515CF33}">
      <dgm:prSet/>
      <dgm:spPr/>
      <dgm:t>
        <a:bodyPr/>
        <a:lstStyle/>
        <a:p>
          <a:endParaRPr lang="en-US"/>
        </a:p>
      </dgm:t>
    </dgm:pt>
    <dgm:pt modelId="{18BF06B7-F9AF-4948-AD61-38F31D7793B5}">
      <dgm:prSet phldrT="[Text]"/>
      <dgm:spPr/>
      <dgm:t>
        <a:bodyPr/>
        <a:lstStyle/>
        <a:p>
          <a:endParaRPr lang="en-US" dirty="0"/>
        </a:p>
      </dgm:t>
    </dgm:pt>
    <dgm:pt modelId="{8EF1D932-F528-49D3-A666-08A8757B6B82}" type="parTrans" cxnId="{24BF29C8-043E-4C0C-99BA-FE2F0A39A48B}">
      <dgm:prSet/>
      <dgm:spPr/>
      <dgm:t>
        <a:bodyPr/>
        <a:lstStyle/>
        <a:p>
          <a:endParaRPr lang="en-US"/>
        </a:p>
      </dgm:t>
    </dgm:pt>
    <dgm:pt modelId="{77A7F0F7-F7E0-465C-A9D2-AB211295D716}" type="sibTrans" cxnId="{24BF29C8-043E-4C0C-99BA-FE2F0A39A48B}">
      <dgm:prSet/>
      <dgm:spPr/>
      <dgm:t>
        <a:bodyPr/>
        <a:lstStyle/>
        <a:p>
          <a:endParaRPr lang="en-US"/>
        </a:p>
      </dgm:t>
    </dgm:pt>
    <dgm:pt modelId="{6828AFED-480F-418A-94E4-FF91ADC7B702}" type="pres">
      <dgm:prSet presAssocID="{77AAED72-AF13-4D29-80DF-F0B77F5574E4}" presName="compositeShape" presStyleCnt="0">
        <dgm:presLayoutVars>
          <dgm:dir/>
          <dgm:resizeHandles/>
        </dgm:presLayoutVars>
      </dgm:prSet>
      <dgm:spPr/>
    </dgm:pt>
    <dgm:pt modelId="{8B671063-390D-4CDE-95D3-741CB5A9D46A}" type="pres">
      <dgm:prSet presAssocID="{77AAED72-AF13-4D29-80DF-F0B77F5574E4}" presName="pyramid" presStyleLbl="node1" presStyleIdx="0" presStyleCnt="1" custScaleX="45018" custLinFactNeighborX="2698"/>
      <dgm:spPr>
        <a:solidFill>
          <a:schemeClr val="accent6">
            <a:lumMod val="50000"/>
          </a:schemeClr>
        </a:solidFill>
      </dgm:spPr>
    </dgm:pt>
    <dgm:pt modelId="{B3F0907A-9A54-40D0-9925-AE3818650D6C}" type="pres">
      <dgm:prSet presAssocID="{77AAED72-AF13-4D29-80DF-F0B77F5574E4}" presName="theList" presStyleCnt="0"/>
      <dgm:spPr/>
    </dgm:pt>
    <dgm:pt modelId="{1FD75378-B493-4742-B3A3-666529EB1DE1}" type="pres">
      <dgm:prSet presAssocID="{0F40B753-7D0E-47D8-96AE-0DFC4F615A3C}" presName="aNode" presStyleLbl="fgAcc1" presStyleIdx="0" presStyleCnt="3" custScaleX="125961" custLinFactNeighborX="11688" custLinFactNeighborY="209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FFAE9F-1024-4C62-AD18-75F63A83CB19}" type="pres">
      <dgm:prSet presAssocID="{0F40B753-7D0E-47D8-96AE-0DFC4F615A3C}" presName="aSpace" presStyleCnt="0"/>
      <dgm:spPr/>
    </dgm:pt>
    <dgm:pt modelId="{29F6EF67-5961-470B-89A3-8D391B5CE286}" type="pres">
      <dgm:prSet presAssocID="{CB079D6E-E4D0-4FCC-9308-BB737DE764CE}" presName="aNode" presStyleLbl="fgAcc1" presStyleIdx="1" presStyleCnt="3" custScaleX="127809" custLinFactNeighborX="12494" custLinFactNeighborY="500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BCF3A2-D87C-461F-96BD-ECD730404CBA}" type="pres">
      <dgm:prSet presAssocID="{CB079D6E-E4D0-4FCC-9308-BB737DE764CE}" presName="aSpace" presStyleCnt="0"/>
      <dgm:spPr/>
    </dgm:pt>
    <dgm:pt modelId="{EB2D13DD-A39E-41AF-85AB-5C22CCAF47D2}" type="pres">
      <dgm:prSet presAssocID="{18BF06B7-F9AF-4948-AD61-38F31D7793B5}" presName="aNode" presStyleLbl="fgAcc1" presStyleIdx="2" presStyleCnt="3" custScaleX="127928" custLinFactY="5576" custLinFactNeighborX="12091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4185DB-13DC-41D0-ABA3-97AD35833679}" type="pres">
      <dgm:prSet presAssocID="{18BF06B7-F9AF-4948-AD61-38F31D7793B5}" presName="aSpace" presStyleCnt="0"/>
      <dgm:spPr/>
    </dgm:pt>
  </dgm:ptLst>
  <dgm:cxnLst>
    <dgm:cxn modelId="{24BF29C8-043E-4C0C-99BA-FE2F0A39A48B}" srcId="{77AAED72-AF13-4D29-80DF-F0B77F5574E4}" destId="{18BF06B7-F9AF-4948-AD61-38F31D7793B5}" srcOrd="2" destOrd="0" parTransId="{8EF1D932-F528-49D3-A666-08A8757B6B82}" sibTransId="{77A7F0F7-F7E0-465C-A9D2-AB211295D716}"/>
    <dgm:cxn modelId="{DBC41160-0C0B-40F4-B2E3-2FD313858105}" type="presOf" srcId="{0F40B753-7D0E-47D8-96AE-0DFC4F615A3C}" destId="{1FD75378-B493-4742-B3A3-666529EB1DE1}" srcOrd="0" destOrd="0" presId="urn:microsoft.com/office/officeart/2005/8/layout/pyramid2"/>
    <dgm:cxn modelId="{9448177E-45C9-49D7-9244-A8F51BAE0A3B}" type="presOf" srcId="{CB079D6E-E4D0-4FCC-9308-BB737DE764CE}" destId="{29F6EF67-5961-470B-89A3-8D391B5CE286}" srcOrd="0" destOrd="0" presId="urn:microsoft.com/office/officeart/2005/8/layout/pyramid2"/>
    <dgm:cxn modelId="{4585A65B-9F09-41C0-9950-4C1F8515CF33}" srcId="{77AAED72-AF13-4D29-80DF-F0B77F5574E4}" destId="{CB079D6E-E4D0-4FCC-9308-BB737DE764CE}" srcOrd="1" destOrd="0" parTransId="{DA5A402A-856F-4ACE-B968-CB28E7D47F2E}" sibTransId="{3A72BAF9-8914-45F3-B137-257F2AE554F4}"/>
    <dgm:cxn modelId="{F644229D-29BC-4AE6-8CE8-93C8125CC8A9}" type="presOf" srcId="{77AAED72-AF13-4D29-80DF-F0B77F5574E4}" destId="{6828AFED-480F-418A-94E4-FF91ADC7B702}" srcOrd="0" destOrd="0" presId="urn:microsoft.com/office/officeart/2005/8/layout/pyramid2"/>
    <dgm:cxn modelId="{F5B57006-4375-417E-8FBA-8AC5B09363AB}" srcId="{77AAED72-AF13-4D29-80DF-F0B77F5574E4}" destId="{0F40B753-7D0E-47D8-96AE-0DFC4F615A3C}" srcOrd="0" destOrd="0" parTransId="{2A5FEBC0-0E27-454F-8649-D2252DFC5EC8}" sibTransId="{44B60B19-013E-4115-8CEA-A49BE9D36DC8}"/>
    <dgm:cxn modelId="{750C9CC5-4B53-4662-A3FE-BA33E716A7AA}" type="presOf" srcId="{18BF06B7-F9AF-4948-AD61-38F31D7793B5}" destId="{EB2D13DD-A39E-41AF-85AB-5C22CCAF47D2}" srcOrd="0" destOrd="0" presId="urn:microsoft.com/office/officeart/2005/8/layout/pyramid2"/>
    <dgm:cxn modelId="{62F5B3C5-E58D-4702-B3B0-6DC0BED47E44}" type="presParOf" srcId="{6828AFED-480F-418A-94E4-FF91ADC7B702}" destId="{8B671063-390D-4CDE-95D3-741CB5A9D46A}" srcOrd="0" destOrd="0" presId="urn:microsoft.com/office/officeart/2005/8/layout/pyramid2"/>
    <dgm:cxn modelId="{7D9C4305-5209-4614-87C5-14AB0291FCF3}" type="presParOf" srcId="{6828AFED-480F-418A-94E4-FF91ADC7B702}" destId="{B3F0907A-9A54-40D0-9925-AE3818650D6C}" srcOrd="1" destOrd="0" presId="urn:microsoft.com/office/officeart/2005/8/layout/pyramid2"/>
    <dgm:cxn modelId="{63B99C5B-DB48-41D8-A86E-9BC7868F6CCA}" type="presParOf" srcId="{B3F0907A-9A54-40D0-9925-AE3818650D6C}" destId="{1FD75378-B493-4742-B3A3-666529EB1DE1}" srcOrd="0" destOrd="0" presId="urn:microsoft.com/office/officeart/2005/8/layout/pyramid2"/>
    <dgm:cxn modelId="{EC9A99AC-C4A9-46BD-802C-A3C7FC3722EE}" type="presParOf" srcId="{B3F0907A-9A54-40D0-9925-AE3818650D6C}" destId="{51FFAE9F-1024-4C62-AD18-75F63A83CB19}" srcOrd="1" destOrd="0" presId="urn:microsoft.com/office/officeart/2005/8/layout/pyramid2"/>
    <dgm:cxn modelId="{5D2D4E87-8CB0-44E0-8087-3A5139B56324}" type="presParOf" srcId="{B3F0907A-9A54-40D0-9925-AE3818650D6C}" destId="{29F6EF67-5961-470B-89A3-8D391B5CE286}" srcOrd="2" destOrd="0" presId="urn:microsoft.com/office/officeart/2005/8/layout/pyramid2"/>
    <dgm:cxn modelId="{9B94078D-3071-4005-BD45-3C085A3492E1}" type="presParOf" srcId="{B3F0907A-9A54-40D0-9925-AE3818650D6C}" destId="{A2BCF3A2-D87C-461F-96BD-ECD730404CBA}" srcOrd="3" destOrd="0" presId="urn:microsoft.com/office/officeart/2005/8/layout/pyramid2"/>
    <dgm:cxn modelId="{0A6B77E0-B324-4207-A918-EFDB79F23D8F}" type="presParOf" srcId="{B3F0907A-9A54-40D0-9925-AE3818650D6C}" destId="{EB2D13DD-A39E-41AF-85AB-5C22CCAF47D2}" srcOrd="4" destOrd="0" presId="urn:microsoft.com/office/officeart/2005/8/layout/pyramid2"/>
    <dgm:cxn modelId="{CDE1BE80-BABB-46CA-A9BB-D177714484F0}" type="presParOf" srcId="{B3F0907A-9A54-40D0-9925-AE3818650D6C}" destId="{3B4185DB-13DC-41D0-ABA3-97AD35833679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671063-390D-4CDE-95D3-741CB5A9D46A}">
      <dsp:nvSpPr>
        <dsp:cNvPr id="0" name=""/>
        <dsp:cNvSpPr/>
      </dsp:nvSpPr>
      <dsp:spPr>
        <a:xfrm>
          <a:off x="959743" y="0"/>
          <a:ext cx="2310771" cy="5132995"/>
        </a:xfrm>
        <a:prstGeom prst="triangl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D75378-B493-4742-B3A3-666529EB1DE1}">
      <dsp:nvSpPr>
        <dsp:cNvPr id="0" name=""/>
        <dsp:cNvSpPr/>
      </dsp:nvSpPr>
      <dsp:spPr>
        <a:xfrm>
          <a:off x="1933517" y="547832"/>
          <a:ext cx="4202621" cy="121507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200" kern="1200" dirty="0"/>
        </a:p>
      </dsp:txBody>
      <dsp:txXfrm>
        <a:off x="1992832" y="607147"/>
        <a:ext cx="4083991" cy="1096446"/>
      </dsp:txXfrm>
    </dsp:sp>
    <dsp:sp modelId="{29F6EF67-5961-470B-89A3-8D391B5CE286}">
      <dsp:nvSpPr>
        <dsp:cNvPr id="0" name=""/>
        <dsp:cNvSpPr/>
      </dsp:nvSpPr>
      <dsp:spPr>
        <a:xfrm>
          <a:off x="1929580" y="1958960"/>
          <a:ext cx="4264279" cy="121507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200" kern="1200" dirty="0"/>
        </a:p>
      </dsp:txBody>
      <dsp:txXfrm>
        <a:off x="1988895" y="2018275"/>
        <a:ext cx="4145649" cy="1096446"/>
      </dsp:txXfrm>
    </dsp:sp>
    <dsp:sp modelId="{EB2D13DD-A39E-41AF-85AB-5C22CCAF47D2}">
      <dsp:nvSpPr>
        <dsp:cNvPr id="0" name=""/>
        <dsp:cNvSpPr/>
      </dsp:nvSpPr>
      <dsp:spPr>
        <a:xfrm>
          <a:off x="1914149" y="3469615"/>
          <a:ext cx="4268249" cy="121507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200" kern="1200" dirty="0"/>
        </a:p>
      </dsp:txBody>
      <dsp:txXfrm>
        <a:off x="1973464" y="3528930"/>
        <a:ext cx="4149619" cy="10964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266782-38E9-40AD-B785-65972891D282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A95524-0BD8-41C3-B5C8-FE43AF125B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43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g88e4ee22ba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2" name="Google Shape;302;g88e4ee22ba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vi-VN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SWOT là viết tắt của 4 từ tiếng Anh: Strengths (thế mạnh), Weakness (điểm yếu), Opportunities (cơ hội) và Threats (thách thức). 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977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8349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A95524-0BD8-41C3-B5C8-FE43AF125B3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336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A95524-0BD8-41C3-B5C8-FE43AF125B3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9052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21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386448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690634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2083850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0511383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3939656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717384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485408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1827783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2264302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8380133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742438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7962240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vi-V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7374475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9177955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760955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4819057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06854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3171524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8192780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8373675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3545239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19436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720545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3728696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vi-V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60121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6209335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0868050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3057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57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169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5757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5263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141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956098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467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9340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0398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835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4617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6934" y="0"/>
            <a:ext cx="12231160" cy="6856214"/>
            <a:chOff x="-16934" y="0"/>
            <a:chExt cx="12231160" cy="6856214"/>
          </a:xfrm>
        </p:grpSpPr>
        <p:pic>
          <p:nvPicPr>
            <p:cNvPr id="16" name="Picture 15" descr="HD-PanelTitleR1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328332" y="1540931"/>
              <a:ext cx="7543802" cy="3835401"/>
            </a:xfrm>
            <a:prstGeom prst="rect">
              <a:avLst/>
            </a:prstGeom>
            <a:noFill/>
            <a:ln w="15875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7" name="Picture 16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6934" y="3147609"/>
              <a:ext cx="2478024" cy="612648"/>
            </a:xfrm>
            <a:prstGeom prst="rect">
              <a:avLst/>
            </a:prstGeom>
          </p:spPr>
        </p:pic>
        <p:pic>
          <p:nvPicPr>
            <p:cNvPr id="20" name="Picture 19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36202" y="3147609"/>
              <a:ext cx="2478024" cy="6126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2398" y="1871131"/>
            <a:ext cx="6815669" cy="1515533"/>
          </a:xfrm>
        </p:spPr>
        <p:txBody>
          <a:bodyPr anchor="b">
            <a:noAutofit/>
          </a:bodyPr>
          <a:lstStyle>
            <a:lvl1pPr algn="ctr">
              <a:defRPr sz="54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2398" y="3657597"/>
            <a:ext cx="6815669" cy="1320802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83232" y="5037663"/>
            <a:ext cx="897467" cy="279400"/>
          </a:xfrm>
        </p:spPr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92397" y="5037663"/>
            <a:ext cx="5214635" cy="279400"/>
          </a:xfrm>
        </p:spPr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56900" y="5037663"/>
            <a:ext cx="551167" cy="279400"/>
          </a:xfrm>
        </p:spPr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2692399" y="3522131"/>
            <a:ext cx="681566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3121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887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5069" y="1752606"/>
            <a:ext cx="8158688" cy="1822514"/>
          </a:xfrm>
        </p:spPr>
        <p:txBody>
          <a:bodyPr anchor="b">
            <a:normAutofit/>
          </a:bodyPr>
          <a:lstStyle>
            <a:lvl1pPr algn="ctr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5067" y="3846051"/>
            <a:ext cx="8158690" cy="954547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012723" y="3710585"/>
            <a:ext cx="8163380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3736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8448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1344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4885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spcBef>
                <a:spcPts val="672"/>
              </a:spcBef>
              <a:spcAft>
                <a:spcPts val="600"/>
              </a:spcAft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540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067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spcBef>
                <a:spcPts val="672"/>
              </a:spcBef>
              <a:spcAft>
                <a:spcPts val="600"/>
              </a:spcAft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067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67025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8656851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00294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3863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811" y="1388534"/>
            <a:ext cx="3718455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8668" y="982131"/>
            <a:ext cx="5469466" cy="4893735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3811" y="3031065"/>
            <a:ext cx="3718455" cy="243840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1396169" y="2912533"/>
            <a:ext cx="35144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661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399" y="1883832"/>
            <a:ext cx="6241816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094831" y="1041400"/>
            <a:ext cx="3063347" cy="4775200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399" y="3255432"/>
            <a:ext cx="6241816" cy="1828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4051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4815415"/>
            <a:ext cx="9609666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41427" y="1041399"/>
            <a:ext cx="10105972" cy="3335869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401" y="5382153"/>
            <a:ext cx="9609666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6331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68" y="982132"/>
            <a:ext cx="9592732" cy="2954868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3868" y="4343399"/>
            <a:ext cx="9592732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85047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370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584200"/>
          </a:xfr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343399"/>
            <a:ext cx="9609666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600267" y="282787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431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2" y="3308581"/>
            <a:ext cx="9609668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777381"/>
            <a:ext cx="960966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152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243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9312"/>
            <a:ext cx="9609668" cy="88696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529667"/>
            <a:ext cx="9609668" cy="13462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00267" y="25992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9047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982132"/>
            <a:ext cx="9609666" cy="2243668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0168"/>
            <a:ext cx="9609668" cy="84124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4470399"/>
            <a:ext cx="9609670" cy="1405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4541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9499208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20696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9356" y="982131"/>
            <a:ext cx="1890895" cy="489373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5398" y="982132"/>
            <a:ext cx="7433025" cy="4893734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8863890" y="990600"/>
            <a:ext cx="0" cy="487680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922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457565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622790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vi-V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862912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microsoft.com/office/2007/relationships/hdphoto" Target="../media/hdphoto1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01C850-81F9-473D-BCC9-2476976F0170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D1FFCC-25DF-465E-912D-318FA1BD1BE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027616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vi-V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E8240D-1732-4D23-835C-8B4752CD5D71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D49852-395A-46EE-AC8D-5F8A63CDB4D0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854462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vi-V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vi-V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vi-V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B86402-CAEF-4BAA-A18F-45018A7473EE}" type="datetimeFigureOut">
              <a:rPr lang="vi-VN" smtClean="0"/>
              <a:t>07/05/2026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331C44-3971-4D03-A86D-DC67D4CF4872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950616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vi-V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619F1B3D-50BD-4853-AE1B-B41BEAAF4190}" type="datetimeFigureOut">
              <a:rPr lang="en-US" smtClean="0"/>
              <a:t>5/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F8C4C563-3E6D-4866-840A-1500FF93E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376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736" y="0"/>
            <a:ext cx="12229962" cy="6856214"/>
            <a:chOff x="-15736" y="0"/>
            <a:chExt cx="12229962" cy="6856214"/>
          </a:xfrm>
        </p:grpSpPr>
        <p:pic>
          <p:nvPicPr>
            <p:cNvPr id="8" name="Picture 7" descr="HD-PanelContent.png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08012" y="609600"/>
              <a:ext cx="10972800" cy="5638800"/>
            </a:xfrm>
            <a:prstGeom prst="rect">
              <a:avLst/>
            </a:prstGeom>
            <a:noFill/>
            <a:ln w="15875" cap="flat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0" name="Picture 9" descr="HDRibbonContent-UniformTrim.png"/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736" y="3153832"/>
              <a:ext cx="777240" cy="606425"/>
            </a:xfrm>
            <a:prstGeom prst="rect">
              <a:avLst/>
            </a:prstGeom>
          </p:spPr>
        </p:pic>
        <p:pic>
          <p:nvPicPr>
            <p:cNvPr id="11" name="Picture 10" descr="HDRibbonContent-UniformTrim.png"/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436986" y="3153832"/>
              <a:ext cx="777240" cy="6064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2" y="982132"/>
            <a:ext cx="9601196" cy="13038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2556932"/>
            <a:ext cx="9601196" cy="33189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77501" y="5969000"/>
            <a:ext cx="16002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defTabSz="60963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5/7/20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5401" y="5969000"/>
            <a:ext cx="73059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defTabSz="60963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3901" y="5969000"/>
            <a:ext cx="542697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defTabSz="60963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63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992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0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8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6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0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6" Type="http://schemas.openxmlformats.org/officeDocument/2006/relationships/image" Target="../media/image53.png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11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6" Type="http://schemas.openxmlformats.org/officeDocument/2006/relationships/image" Target="../media/image55.png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54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57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59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61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6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6" Type="http://schemas.openxmlformats.org/officeDocument/2006/relationships/image" Target="../media/image64.png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63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66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68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6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2" Type="http://schemas.microsoft.com/office/2007/relationships/media" Target="../media/media3.mp3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70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6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13" Type="http://schemas.openxmlformats.org/officeDocument/2006/relationships/image" Target="../media/image52.png"/><Relationship Id="rId3" Type="http://schemas.microsoft.com/office/2007/relationships/media" Target="../media/media4.mp3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9.png"/><Relationship Id="rId17" Type="http://schemas.openxmlformats.org/officeDocument/2006/relationships/image" Target="../media/image74.png"/><Relationship Id="rId2" Type="http://schemas.microsoft.com/office/2007/relationships/media" Target="../media/media3.mp3"/><Relationship Id="rId16" Type="http://schemas.openxmlformats.org/officeDocument/2006/relationships/image" Target="../media/image73.png"/><Relationship Id="rId1" Type="http://schemas.openxmlformats.org/officeDocument/2006/relationships/audio" Target="NULL" TargetMode="External"/><Relationship Id="rId6" Type="http://schemas.openxmlformats.org/officeDocument/2006/relationships/audio" Target="../media/media5.mp3"/><Relationship Id="rId11" Type="http://schemas.openxmlformats.org/officeDocument/2006/relationships/image" Target="../media/image48.gif"/><Relationship Id="rId5" Type="http://schemas.microsoft.com/office/2007/relationships/media" Target="../media/media5.mp3"/><Relationship Id="rId15" Type="http://schemas.openxmlformats.org/officeDocument/2006/relationships/image" Target="../media/image72.png"/><Relationship Id="rId10" Type="http://schemas.openxmlformats.org/officeDocument/2006/relationships/image" Target="../media/image47.png"/><Relationship Id="rId4" Type="http://schemas.openxmlformats.org/officeDocument/2006/relationships/audio" Target="../media/media4.mp3"/><Relationship Id="rId9" Type="http://schemas.openxmlformats.org/officeDocument/2006/relationships/image" Target="../media/image46.gif"/><Relationship Id="rId14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7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8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8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8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7" Type="http://schemas.openxmlformats.org/officeDocument/2006/relationships/image" Target="../media/image94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5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5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3" Type="http://schemas.microsoft.com/office/2007/relationships/media" Target="../media/media2.mp4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2" Type="http://schemas.openxmlformats.org/officeDocument/2006/relationships/video" Target="NULL" TargetMode="External"/><Relationship Id="rId16" Type="http://schemas.openxmlformats.org/officeDocument/2006/relationships/image" Target="../media/image29.png"/><Relationship Id="rId1" Type="http://schemas.openxmlformats.org/officeDocument/2006/relationships/tags" Target="../tags/tag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8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id="{8EF4173F-CC3A-4818-861B-A0641A6E823C}"/>
              </a:ext>
            </a:extLst>
          </p:cNvPr>
          <p:cNvGrpSpPr/>
          <p:nvPr/>
        </p:nvGrpSpPr>
        <p:grpSpPr>
          <a:xfrm>
            <a:off x="0" y="6096000"/>
            <a:ext cx="12192000" cy="765125"/>
            <a:chOff x="0" y="0"/>
            <a:chExt cx="4166870" cy="1052924"/>
          </a:xfrm>
          <a:gradFill>
            <a:gsLst>
              <a:gs pos="0">
                <a:srgbClr val="FFFFFF"/>
              </a:gs>
              <a:gs pos="41000">
                <a:schemeClr val="accent1">
                  <a:lumMod val="45000"/>
                  <a:lumOff val="55000"/>
                </a:schemeClr>
              </a:gs>
              <a:gs pos="67000">
                <a:schemeClr val="accent1">
                  <a:lumMod val="45000"/>
                  <a:lumOff val="55000"/>
                </a:schemeClr>
              </a:gs>
              <a:gs pos="97000">
                <a:srgbClr val="FED63B"/>
              </a:gs>
            </a:gsLst>
            <a:lin ang="5400000" scaled="1"/>
          </a:gra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4798C8C-86C0-40FE-A776-0CCE249BC3CE}"/>
                </a:ext>
              </a:extLst>
            </p:cNvPr>
            <p:cNvSpPr/>
            <p:nvPr/>
          </p:nvSpPr>
          <p:spPr>
            <a:xfrm>
              <a:off x="0" y="0"/>
              <a:ext cx="4168140" cy="1052924"/>
            </a:xfrm>
            <a:custGeom>
              <a:avLst/>
              <a:gdLst/>
              <a:ahLst/>
              <a:cxnLst/>
              <a:rect l="l" t="t" r="r" b="b"/>
              <a:pathLst>
                <a:path w="4168140" h="1052924">
                  <a:moveTo>
                    <a:pt x="4166870" y="193040"/>
                  </a:moveTo>
                  <a:cubicBezTo>
                    <a:pt x="4084320" y="137160"/>
                    <a:pt x="3983990" y="105410"/>
                    <a:pt x="3876040" y="105410"/>
                  </a:cubicBezTo>
                  <a:cubicBezTo>
                    <a:pt x="3717290" y="105410"/>
                    <a:pt x="3575050" y="176530"/>
                    <a:pt x="3478530" y="287020"/>
                  </a:cubicBezTo>
                  <a:cubicBezTo>
                    <a:pt x="3409950" y="254000"/>
                    <a:pt x="3332480" y="234950"/>
                    <a:pt x="3251200" y="234950"/>
                  </a:cubicBezTo>
                  <a:cubicBezTo>
                    <a:pt x="3186430" y="234950"/>
                    <a:pt x="3124200" y="246380"/>
                    <a:pt x="3067050" y="267970"/>
                  </a:cubicBezTo>
                  <a:cubicBezTo>
                    <a:pt x="2971800" y="137160"/>
                    <a:pt x="2816860" y="52070"/>
                    <a:pt x="2642870" y="52070"/>
                  </a:cubicBezTo>
                  <a:cubicBezTo>
                    <a:pt x="2470150" y="52070"/>
                    <a:pt x="2316480" y="135890"/>
                    <a:pt x="2221230" y="264160"/>
                  </a:cubicBezTo>
                  <a:cubicBezTo>
                    <a:pt x="2125980" y="165100"/>
                    <a:pt x="1992630" y="104140"/>
                    <a:pt x="1844040" y="104140"/>
                  </a:cubicBezTo>
                  <a:cubicBezTo>
                    <a:pt x="1727200" y="104140"/>
                    <a:pt x="1619250" y="142240"/>
                    <a:pt x="1531620" y="207010"/>
                  </a:cubicBezTo>
                  <a:cubicBezTo>
                    <a:pt x="1426210" y="81280"/>
                    <a:pt x="1262380" y="0"/>
                    <a:pt x="1079500" y="0"/>
                  </a:cubicBezTo>
                  <a:lnTo>
                    <a:pt x="1064260" y="0"/>
                  </a:lnTo>
                  <a:lnTo>
                    <a:pt x="1049020" y="0"/>
                  </a:lnTo>
                  <a:cubicBezTo>
                    <a:pt x="905510" y="0"/>
                    <a:pt x="774700" y="58420"/>
                    <a:pt x="679450" y="151130"/>
                  </a:cubicBezTo>
                  <a:cubicBezTo>
                    <a:pt x="665480" y="162560"/>
                    <a:pt x="652780" y="175260"/>
                    <a:pt x="641350" y="189230"/>
                  </a:cubicBezTo>
                  <a:cubicBezTo>
                    <a:pt x="603250" y="180340"/>
                    <a:pt x="563880" y="176530"/>
                    <a:pt x="524510" y="176530"/>
                  </a:cubicBezTo>
                  <a:cubicBezTo>
                    <a:pt x="412750" y="176530"/>
                    <a:pt x="309880" y="212090"/>
                    <a:pt x="224790" y="271780"/>
                  </a:cubicBezTo>
                  <a:cubicBezTo>
                    <a:pt x="168910" y="193040"/>
                    <a:pt x="91440" y="132080"/>
                    <a:pt x="1270" y="93980"/>
                  </a:cubicBezTo>
                  <a:lnTo>
                    <a:pt x="1270" y="440690"/>
                  </a:lnTo>
                  <a:lnTo>
                    <a:pt x="0" y="440690"/>
                  </a:lnTo>
                  <a:lnTo>
                    <a:pt x="0" y="1052924"/>
                  </a:lnTo>
                  <a:lnTo>
                    <a:pt x="4166870" y="1052924"/>
                  </a:lnTo>
                  <a:lnTo>
                    <a:pt x="4166870" y="441960"/>
                  </a:lnTo>
                  <a:lnTo>
                    <a:pt x="4168140" y="441960"/>
                  </a:lnTo>
                  <a:lnTo>
                    <a:pt x="4166870" y="193040"/>
                  </a:lnTo>
                  <a:lnTo>
                    <a:pt x="4166870" y="19304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79323FF-7712-4A68-AF56-C3B42A2589ED}"/>
              </a:ext>
            </a:extLst>
          </p:cNvPr>
          <p:cNvSpPr txBox="1"/>
          <p:nvPr/>
        </p:nvSpPr>
        <p:spPr>
          <a:xfrm>
            <a:off x="1472805" y="320617"/>
            <a:ext cx="8934994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#9Slide02 Tieu de rat dai 01" panose="02000000000000000000" pitchFamily="2" charset="0"/>
                <a:cs typeface="Times New Roman" panose="02020603050405020304" pitchFamily="18" charset="0"/>
              </a:rPr>
              <a:t>CHỦ</a:t>
            </a:r>
            <a:r>
              <a:rPr kumimoji="0" lang="en-US" sz="32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#9Slide02 Tieu de rat dai 01" panose="02000000000000000000" pitchFamily="2" charset="0"/>
                <a:cs typeface="Times New Roman" panose="02020603050405020304" pitchFamily="18" charset="0"/>
              </a:rPr>
              <a:t> ĐỀ 6: MỘT SỐ NỀN VĂN MINH TRÊN ĐẤT NƯỚC VIỆT NAM (TRƯỚC 1858)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#9Slide02 Tieu de rat dai 01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9323FF-7712-4A68-AF56-C3B42A2589ED}"/>
              </a:ext>
            </a:extLst>
          </p:cNvPr>
          <p:cNvSpPr txBox="1"/>
          <p:nvPr/>
        </p:nvSpPr>
        <p:spPr>
          <a:xfrm>
            <a:off x="1630361" y="1665572"/>
            <a:ext cx="893499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ea typeface="#9Slide02 Tieu de rat dai 01" panose="02000000000000000000" pitchFamily="2" charset="0"/>
                <a:cs typeface="Times New Roman" panose="02020603050405020304" pitchFamily="18" charset="0"/>
              </a:rPr>
              <a:t>BÀI 10: VĂN MINH VĂN LANG – ÂU LẠ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#9Slide02 Tieu de rat dai 01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2357438"/>
            <a:ext cx="12192000" cy="4293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770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414430" y="1566344"/>
            <a:ext cx="10772869" cy="2403624"/>
            <a:chOff x="971766" y="2583556"/>
            <a:chExt cx="10772869" cy="2403624"/>
          </a:xfrm>
        </p:grpSpPr>
        <p:sp>
          <p:nvSpPr>
            <p:cNvPr id="5" name="AutoShape 3"/>
            <p:cNvSpPr>
              <a:spLocks noChangeArrowheads="1"/>
            </p:cNvSpPr>
            <p:nvPr/>
          </p:nvSpPr>
          <p:spPr bwMode="auto">
            <a:xfrm rot="5400000" flipH="1">
              <a:off x="5156389" y="-1601067"/>
              <a:ext cx="2403624" cy="10772869"/>
            </a:xfrm>
            <a:custGeom>
              <a:avLst/>
              <a:gdLst>
                <a:gd name="G0" fmla="+- 6101 0 0"/>
                <a:gd name="G1" fmla="+- 21600 0 6101"/>
                <a:gd name="G2" fmla="*/ 6101 1 2"/>
                <a:gd name="G3" fmla="+- 21600 0 G2"/>
                <a:gd name="G4" fmla="+/ 6101 21600 2"/>
                <a:gd name="G5" fmla="+/ G1 0 2"/>
                <a:gd name="G6" fmla="*/ 21600 21600 6101"/>
                <a:gd name="G7" fmla="*/ G6 1 2"/>
                <a:gd name="G8" fmla="+- 21600 0 G7"/>
                <a:gd name="G9" fmla="*/ 21600 1 2"/>
                <a:gd name="G10" fmla="+- 6101 0 G9"/>
                <a:gd name="G11" fmla="?: G10 G8 0"/>
                <a:gd name="G12" fmla="?: G10 G7 21600"/>
                <a:gd name="T0" fmla="*/ 18549 w 21600"/>
                <a:gd name="T1" fmla="*/ 10800 h 21600"/>
                <a:gd name="T2" fmla="*/ 10800 w 21600"/>
                <a:gd name="T3" fmla="*/ 21600 h 21600"/>
                <a:gd name="T4" fmla="*/ 3051 w 21600"/>
                <a:gd name="T5" fmla="*/ 10800 h 21600"/>
                <a:gd name="T6" fmla="*/ 10800 w 21600"/>
                <a:gd name="T7" fmla="*/ 0 h 21600"/>
                <a:gd name="T8" fmla="*/ 4851 w 21600"/>
                <a:gd name="T9" fmla="*/ 4851 h 21600"/>
                <a:gd name="T10" fmla="*/ 16749 w 21600"/>
                <a:gd name="T11" fmla="*/ 1674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6101" y="21600"/>
                  </a:lnTo>
                  <a:lnTo>
                    <a:pt x="1549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>
                <a:lumMod val="75000"/>
                <a:alpha val="18000"/>
              </a:schemeClr>
            </a:solidFill>
            <a:ln w="6350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971767" y="3187877"/>
              <a:ext cx="1349091" cy="1125696"/>
            </a:xfrm>
            <a:prstGeom prst="ellipse">
              <a:avLst/>
            </a:prstGeom>
            <a:solidFill>
              <a:srgbClr val="C00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Hoàn</a:t>
              </a:r>
              <a:r>
                <a:rPr kumimoji="0" lang="en-US" sz="25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25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cảnh</a:t>
              </a: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4779478" y="2933486"/>
              <a:ext cx="1722006" cy="1722006"/>
            </a:xfrm>
            <a:prstGeom prst="ellipse">
              <a:avLst/>
            </a:prstGeom>
            <a:solidFill>
              <a:srgbClr val="7030A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inh</a:t>
              </a: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2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đô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8793897" y="2730677"/>
              <a:ext cx="2301628" cy="2026792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Bước</a:t>
              </a: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3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phát</a:t>
              </a: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3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triển</a:t>
              </a: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</p:grpSp>
      <p:sp>
        <p:nvSpPr>
          <p:cNvPr id="10" name="Title 1"/>
          <p:cNvSpPr txBox="1">
            <a:spLocks/>
          </p:cNvSpPr>
          <p:nvPr/>
        </p:nvSpPr>
        <p:spPr>
          <a:xfrm>
            <a:off x="-548265" y="1373917"/>
            <a:ext cx="4955987" cy="7216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609630" rtl="0" eaLnBrk="1" latinLnBrk="0" hangingPunct="1"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*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nướ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Âu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Lạc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4127" y="907489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xã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3" name="Group 14"/>
          <p:cNvGrpSpPr/>
          <p:nvPr/>
        </p:nvGrpSpPr>
        <p:grpSpPr>
          <a:xfrm>
            <a:off x="342202" y="3802641"/>
            <a:ext cx="3019976" cy="2738639"/>
            <a:chOff x="0" y="-318154"/>
            <a:chExt cx="2317147" cy="2664878"/>
          </a:xfrm>
          <a:solidFill>
            <a:schemeClr val="accent6">
              <a:lumMod val="50000"/>
            </a:schemeClr>
          </a:solidFill>
        </p:grpSpPr>
        <p:sp>
          <p:nvSpPr>
            <p:cNvPr id="14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" name="Group 20"/>
          <p:cNvGrpSpPr/>
          <p:nvPr/>
        </p:nvGrpSpPr>
        <p:grpSpPr>
          <a:xfrm>
            <a:off x="414430" y="3963067"/>
            <a:ext cx="2835207" cy="2421320"/>
            <a:chOff x="0" y="0"/>
            <a:chExt cx="2305254" cy="604763"/>
          </a:xfrm>
          <a:solidFill>
            <a:schemeClr val="bg1"/>
          </a:solidFill>
        </p:grpSpPr>
        <p:sp>
          <p:nvSpPr>
            <p:cNvPr id="16" name="Freeform 21"/>
            <p:cNvSpPr/>
            <p:nvPr/>
          </p:nvSpPr>
          <p:spPr>
            <a:xfrm>
              <a:off x="0" y="0"/>
              <a:ext cx="2305254" cy="604763"/>
            </a:xfrm>
            <a:custGeom>
              <a:avLst/>
              <a:gdLst/>
              <a:ahLst/>
              <a:cxnLst/>
              <a:rect l="l" t="t" r="r" b="b"/>
              <a:pathLst>
                <a:path w="2305254" h="753222">
                  <a:moveTo>
                    <a:pt x="2180794" y="753222"/>
                  </a:moveTo>
                  <a:lnTo>
                    <a:pt x="124460" y="753222"/>
                  </a:lnTo>
                  <a:cubicBezTo>
                    <a:pt x="55880" y="753222"/>
                    <a:pt x="0" y="697342"/>
                    <a:pt x="0" y="62876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80794" y="0"/>
                  </a:lnTo>
                  <a:cubicBezTo>
                    <a:pt x="2249374" y="0"/>
                    <a:pt x="2305254" y="55880"/>
                    <a:pt x="2305254" y="124460"/>
                  </a:cubicBezTo>
                  <a:lnTo>
                    <a:pt x="2305254" y="628762"/>
                  </a:lnTo>
                  <a:cubicBezTo>
                    <a:pt x="2305254" y="697342"/>
                    <a:pt x="2249374" y="753222"/>
                    <a:pt x="2180794" y="753222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494127" y="4054207"/>
            <a:ext cx="267581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a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à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ă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8 TCN, do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ụ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há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An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ươ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ươ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á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ậ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a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h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á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ắ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quâ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ầ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xâ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ượ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18" name="Group 14"/>
          <p:cNvGrpSpPr/>
          <p:nvPr/>
        </p:nvGrpSpPr>
        <p:grpSpPr>
          <a:xfrm>
            <a:off x="3731133" y="3802640"/>
            <a:ext cx="2441208" cy="2738639"/>
            <a:chOff x="0" y="-318154"/>
            <a:chExt cx="2317147" cy="2664878"/>
          </a:xfrm>
          <a:solidFill>
            <a:schemeClr val="accent6">
              <a:lumMod val="50000"/>
            </a:schemeClr>
          </a:solidFill>
        </p:grpSpPr>
        <p:sp>
          <p:nvSpPr>
            <p:cNvPr id="19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3825654" y="3928036"/>
            <a:ext cx="2291849" cy="2421320"/>
            <a:chOff x="0" y="0"/>
            <a:chExt cx="2305254" cy="604763"/>
          </a:xfrm>
          <a:solidFill>
            <a:schemeClr val="bg1"/>
          </a:solidFill>
        </p:grpSpPr>
        <p:sp>
          <p:nvSpPr>
            <p:cNvPr id="21" name="Freeform 21"/>
            <p:cNvSpPr/>
            <p:nvPr/>
          </p:nvSpPr>
          <p:spPr>
            <a:xfrm>
              <a:off x="0" y="0"/>
              <a:ext cx="2305254" cy="604763"/>
            </a:xfrm>
            <a:custGeom>
              <a:avLst/>
              <a:gdLst/>
              <a:ahLst/>
              <a:cxnLst/>
              <a:rect l="l" t="t" r="r" b="b"/>
              <a:pathLst>
                <a:path w="2305254" h="753222">
                  <a:moveTo>
                    <a:pt x="2180794" y="753222"/>
                  </a:moveTo>
                  <a:lnTo>
                    <a:pt x="124460" y="753222"/>
                  </a:lnTo>
                  <a:cubicBezTo>
                    <a:pt x="55880" y="753222"/>
                    <a:pt x="0" y="697342"/>
                    <a:pt x="0" y="62876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80794" y="0"/>
                  </a:lnTo>
                  <a:cubicBezTo>
                    <a:pt x="2249374" y="0"/>
                    <a:pt x="2305254" y="55880"/>
                    <a:pt x="2305254" y="124460"/>
                  </a:cubicBezTo>
                  <a:lnTo>
                    <a:pt x="2305254" y="628762"/>
                  </a:lnTo>
                  <a:cubicBezTo>
                    <a:pt x="2305254" y="697342"/>
                    <a:pt x="2249374" y="753222"/>
                    <a:pt x="2180794" y="753222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14"/>
          <p:cNvGrpSpPr/>
          <p:nvPr/>
        </p:nvGrpSpPr>
        <p:grpSpPr>
          <a:xfrm>
            <a:off x="6541296" y="3802641"/>
            <a:ext cx="5465638" cy="2738639"/>
            <a:chOff x="0" y="-318154"/>
            <a:chExt cx="2317147" cy="2664878"/>
          </a:xfrm>
          <a:solidFill>
            <a:schemeClr val="accent6">
              <a:lumMod val="50000"/>
            </a:schemeClr>
          </a:solidFill>
        </p:grpSpPr>
        <p:sp>
          <p:nvSpPr>
            <p:cNvPr id="23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20"/>
          <p:cNvGrpSpPr/>
          <p:nvPr/>
        </p:nvGrpSpPr>
        <p:grpSpPr>
          <a:xfrm>
            <a:off x="6651523" y="3963067"/>
            <a:ext cx="5191432" cy="2421320"/>
            <a:chOff x="0" y="0"/>
            <a:chExt cx="2305254" cy="604763"/>
          </a:xfrm>
          <a:solidFill>
            <a:schemeClr val="bg1"/>
          </a:solidFill>
        </p:grpSpPr>
        <p:sp>
          <p:nvSpPr>
            <p:cNvPr id="25" name="Freeform 21"/>
            <p:cNvSpPr/>
            <p:nvPr/>
          </p:nvSpPr>
          <p:spPr>
            <a:xfrm>
              <a:off x="0" y="0"/>
              <a:ext cx="2305254" cy="604763"/>
            </a:xfrm>
            <a:custGeom>
              <a:avLst/>
              <a:gdLst/>
              <a:ahLst/>
              <a:cxnLst/>
              <a:rect l="l" t="t" r="r" b="b"/>
              <a:pathLst>
                <a:path w="2305254" h="753222">
                  <a:moveTo>
                    <a:pt x="2180794" y="753222"/>
                  </a:moveTo>
                  <a:lnTo>
                    <a:pt x="124460" y="753222"/>
                  </a:lnTo>
                  <a:cubicBezTo>
                    <a:pt x="55880" y="753222"/>
                    <a:pt x="0" y="697342"/>
                    <a:pt x="0" y="62876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80794" y="0"/>
                  </a:lnTo>
                  <a:cubicBezTo>
                    <a:pt x="2249374" y="0"/>
                    <a:pt x="2305254" y="55880"/>
                    <a:pt x="2305254" y="124460"/>
                  </a:cubicBezTo>
                  <a:lnTo>
                    <a:pt x="2305254" y="628762"/>
                  </a:lnTo>
                  <a:cubicBezTo>
                    <a:pt x="2305254" y="697342"/>
                    <a:pt x="2249374" y="753222"/>
                    <a:pt x="2180794" y="753222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011637" y="4213174"/>
            <a:ext cx="1932511" cy="1303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oa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ô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ộ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751873" y="4131546"/>
            <a:ext cx="4990732" cy="2080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ã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ộ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ớ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ơ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ố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ấ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ã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ệ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ệ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ũ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hí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ạ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ỏ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ắ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ượ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ề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ũ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ê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ộ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ầ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+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hà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Loa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kiê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ố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vữ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hắ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FE8E3A-24A2-0DFC-5971-16924F6205F5}"/>
              </a:ext>
            </a:extLst>
          </p:cNvPr>
          <p:cNvSpPr/>
          <p:nvPr/>
        </p:nvSpPr>
        <p:spPr>
          <a:xfrm>
            <a:off x="1048869" y="147700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Thành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iểu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029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6" grpId="0"/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5" name="Picture 5" descr="LH_12den-hu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9" y="76200"/>
            <a:ext cx="5869577" cy="579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7" name="Picture 7" descr="Den_Hung_-_du_lich_sen_vang_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31" y="76200"/>
            <a:ext cx="5708469" cy="579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568" name="Text Box 8"/>
          <p:cNvSpPr txBox="1">
            <a:spLocks noChangeArrowheads="1"/>
          </p:cNvSpPr>
          <p:nvPr/>
        </p:nvSpPr>
        <p:spPr bwMode="auto">
          <a:xfrm>
            <a:off x="3200400" y="5943601"/>
            <a:ext cx="5334000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200" b="1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“Dù ai đi ngược về xuôi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200" b="1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Nhớ ngày Giỗ Tổ mùng 10 tháng 3</a:t>
            </a:r>
            <a:r>
              <a:rPr kumimoji="0" lang="vi-VN" altLang="en-US" sz="2200" b="1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7673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527" y="183092"/>
            <a:ext cx="6049341" cy="50723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5594" y="3305908"/>
            <a:ext cx="5580361" cy="68135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4868" y="183092"/>
            <a:ext cx="5580361" cy="57968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5686151"/>
            <a:ext cx="65133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hà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Lo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: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l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ô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rì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quâ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sự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vượ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ầ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h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đạ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về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qu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mô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to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lớ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cũ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như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về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kĩ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huậ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ti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xả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902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48869" y="147700"/>
            <a:ext cx="10502153" cy="522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Thành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ựu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endParaRPr lang="en-US" sz="2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413879" y="1730819"/>
            <a:ext cx="4583954" cy="1940957"/>
          </a:xfrm>
          <a:prstGeom prst="wedgeRoundRectCallout">
            <a:avLst>
              <a:gd name="adj1" fmla="val -415"/>
              <a:gd name="adj2" fmla="val 67683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ÀM VIỆC NHÓM</a:t>
            </a:r>
          </a:p>
          <a:p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p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4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m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4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ơ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ịc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iệm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ụ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ập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7576" y="1800633"/>
            <a:ext cx="6871064" cy="48222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485" y="4086888"/>
            <a:ext cx="3323771" cy="1940957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867484" y="5869666"/>
            <a:ext cx="3323771" cy="882826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636695" y="6075297"/>
            <a:ext cx="2138322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ỞI ĐỘ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F1CC26-15F5-FA68-6E38-1F557E9FE6E4}"/>
              </a:ext>
            </a:extLst>
          </p:cNvPr>
          <p:cNvSpPr/>
          <p:nvPr/>
        </p:nvSpPr>
        <p:spPr>
          <a:xfrm>
            <a:off x="413879" y="951629"/>
            <a:ext cx="10502153" cy="522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.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ạ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độ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inh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ế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đờ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ố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ậ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ấ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đờ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ố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nh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endParaRPr lang="en-US" sz="2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73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96A2993-46AB-4FD2-8B48-BFB8F9DBB6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687" t="25726" r="43146" b="56784"/>
          <a:stretch/>
        </p:blipFill>
        <p:spPr>
          <a:xfrm>
            <a:off x="5630345" y="1277538"/>
            <a:ext cx="1117600" cy="10649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A14A2BF-2501-403B-9846-6E57F943EC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009" t="25726" r="33825" b="56784"/>
          <a:stretch/>
        </p:blipFill>
        <p:spPr>
          <a:xfrm>
            <a:off x="8225373" y="1277538"/>
            <a:ext cx="1117600" cy="10649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C6A708C-D649-484F-9A80-10FD263FB9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437" t="25726" r="24396" b="56784"/>
          <a:stretch/>
        </p:blipFill>
        <p:spPr>
          <a:xfrm>
            <a:off x="10388565" y="1331222"/>
            <a:ext cx="1117600" cy="110900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D51D719-48B0-44A8-AB12-0326F19633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735" t="25726" r="14947" b="56784"/>
          <a:stretch/>
        </p:blipFill>
        <p:spPr>
          <a:xfrm>
            <a:off x="3016906" y="1277538"/>
            <a:ext cx="1136012" cy="106492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08E81D8-2181-4711-B8F6-AD1185B49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4873" t="25726" r="5417" b="56784"/>
          <a:stretch/>
        </p:blipFill>
        <p:spPr>
          <a:xfrm>
            <a:off x="355600" y="1262868"/>
            <a:ext cx="1183879" cy="10795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82EE90-4227-418A-9172-DA11FC30C34B}"/>
              </a:ext>
            </a:extLst>
          </p:cNvPr>
          <p:cNvSpPr txBox="1"/>
          <p:nvPr/>
        </p:nvSpPr>
        <p:spPr>
          <a:xfrm>
            <a:off x="8712165" y="105489"/>
            <a:ext cx="3352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9630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PHIẾU HỌC TẬP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879ED2-81C1-4F60-B807-2B4FA6CFE217}"/>
              </a:ext>
            </a:extLst>
          </p:cNvPr>
          <p:cNvCxnSpPr>
            <a:cxnSpLocks/>
          </p:cNvCxnSpPr>
          <p:nvPr/>
        </p:nvCxnSpPr>
        <p:spPr>
          <a:xfrm>
            <a:off x="2242128" y="1978491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800729B-8AF6-4C38-9845-581D314135CB}"/>
              </a:ext>
            </a:extLst>
          </p:cNvPr>
          <p:cNvCxnSpPr>
            <a:cxnSpLocks/>
          </p:cNvCxnSpPr>
          <p:nvPr/>
        </p:nvCxnSpPr>
        <p:spPr>
          <a:xfrm>
            <a:off x="4724400" y="1955800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0CE3064-21D9-4A5C-8633-112256946570}"/>
              </a:ext>
            </a:extLst>
          </p:cNvPr>
          <p:cNvCxnSpPr>
            <a:cxnSpLocks/>
          </p:cNvCxnSpPr>
          <p:nvPr/>
        </p:nvCxnSpPr>
        <p:spPr>
          <a:xfrm>
            <a:off x="7315200" y="1955800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918AE0-6BD7-476B-9263-5134308284FF}"/>
              </a:ext>
            </a:extLst>
          </p:cNvPr>
          <p:cNvCxnSpPr>
            <a:cxnSpLocks/>
          </p:cNvCxnSpPr>
          <p:nvPr/>
        </p:nvCxnSpPr>
        <p:spPr>
          <a:xfrm>
            <a:off x="9906000" y="1955800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B8CCE99-C4FB-44F3-9DEB-53596CB198C3}"/>
              </a:ext>
            </a:extLst>
          </p:cNvPr>
          <p:cNvSpPr txBox="1"/>
          <p:nvPr/>
        </p:nvSpPr>
        <p:spPr>
          <a:xfrm>
            <a:off x="186064" y="4190902"/>
            <a:ext cx="2252337" cy="22056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ây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úa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ườn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au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âu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ườn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âu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àn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609630"/>
            <a:endParaRPr lang="en-US" sz="1733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D8B904-EF83-435C-A392-329FAC9FAE89}"/>
              </a:ext>
            </a:extLst>
          </p:cNvPr>
          <p:cNvSpPr txBox="1"/>
          <p:nvPr/>
        </p:nvSpPr>
        <p:spPr>
          <a:xfrm>
            <a:off x="2491260" y="4236038"/>
            <a:ext cx="23604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i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ày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âu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ống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ây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úa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99647E-B31F-456B-B0D6-A4BF65FAC8CD}"/>
              </a:ext>
            </a:extLst>
          </p:cNvPr>
          <p:cNvSpPr txBox="1"/>
          <p:nvPr/>
        </p:nvSpPr>
        <p:spPr>
          <a:xfrm>
            <a:off x="4696013" y="4247443"/>
            <a:ext cx="2692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ống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ếng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ói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uyện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ăm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ình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ếng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ói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uyện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ày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ùa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CC55EE-0C3F-4E5E-8499-F8A7944EA71B}"/>
              </a:ext>
            </a:extLst>
          </p:cNvPr>
          <p:cNvSpPr txBox="1"/>
          <p:nvPr/>
        </p:nvSpPr>
        <p:spPr>
          <a:xfrm>
            <a:off x="7608366" y="4247443"/>
            <a:ext cx="22009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ùi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ánh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ưng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17" indent="-342917" defTabSz="609630">
              <a:buFontTx/>
              <a:buAutoNum type="arabicPeriod"/>
            </a:pP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ùi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úa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ín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EF81F5-7711-4511-8AB1-C92696C08D47}"/>
              </a:ext>
            </a:extLst>
          </p:cNvPr>
          <p:cNvSpPr txBox="1"/>
          <p:nvPr/>
        </p:nvSpPr>
        <p:spPr>
          <a:xfrm>
            <a:off x="10080221" y="4260015"/>
            <a:ext cx="2297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ón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ơm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o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Frame 26">
            <a:extLst>
              <a:ext uri="{FF2B5EF4-FFF2-40B4-BE49-F238E27FC236}">
                <a16:creationId xmlns:a16="http://schemas.microsoft.com/office/drawing/2014/main" id="{9E4079DD-4402-4C3B-970D-8FDF30FCCA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91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49B87AF-CF8B-404D-80E9-E56250D6C31F}"/>
              </a:ext>
            </a:extLst>
          </p:cNvPr>
          <p:cNvSpPr txBox="1"/>
          <p:nvPr/>
        </p:nvSpPr>
        <p:spPr>
          <a:xfrm>
            <a:off x="163935" y="86227"/>
            <a:ext cx="40005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sz="2800" b="1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KHỞI ĐỘNG (5 </a:t>
            </a:r>
            <a:r>
              <a:rPr lang="en-US" sz="2800" b="1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phút</a:t>
            </a:r>
            <a:r>
              <a:rPr lang="en-US" sz="2800" b="1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740B3E-96A1-482C-9866-E1B4CC94BCFF}"/>
              </a:ext>
            </a:extLst>
          </p:cNvPr>
          <p:cNvSpPr/>
          <p:nvPr/>
        </p:nvSpPr>
        <p:spPr>
          <a:xfrm>
            <a:off x="6798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algn="ctr" defTabSz="609630"/>
            <a:r>
              <a:rPr lang="en-US" sz="640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/>
              </a:rPr>
              <a:t>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576E94D-A67F-46C9-B29E-92E27297F50F}"/>
              </a:ext>
            </a:extLst>
          </p:cNvPr>
          <p:cNvSpPr/>
          <p:nvPr/>
        </p:nvSpPr>
        <p:spPr>
          <a:xfrm>
            <a:off x="32833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algn="ctr" defTabSz="609630"/>
            <a:r>
              <a:rPr lang="en-US" sz="640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/>
              </a:rPr>
              <a:t>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B8948AA-FB8F-4BF2-9497-A24495307E2F}"/>
              </a:ext>
            </a:extLst>
          </p:cNvPr>
          <p:cNvSpPr/>
          <p:nvPr/>
        </p:nvSpPr>
        <p:spPr>
          <a:xfrm>
            <a:off x="58868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algn="ctr" defTabSz="609630"/>
            <a:r>
              <a:rPr lang="en-US" sz="640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/>
              </a:rPr>
              <a:t>3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0314F62-5B17-4B15-9BCB-7D0D2C8C576E}"/>
              </a:ext>
            </a:extLst>
          </p:cNvPr>
          <p:cNvSpPr/>
          <p:nvPr/>
        </p:nvSpPr>
        <p:spPr>
          <a:xfrm>
            <a:off x="84903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algn="ctr" defTabSz="609630"/>
            <a:r>
              <a:rPr lang="en-US" sz="640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/>
              </a:rPr>
              <a:t>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85B0F2-4F95-4D7C-8F21-7FAC4FFC840A}"/>
              </a:ext>
            </a:extLst>
          </p:cNvPr>
          <p:cNvSpPr/>
          <p:nvPr/>
        </p:nvSpPr>
        <p:spPr>
          <a:xfrm>
            <a:off x="10756439" y="2147194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algn="ctr" defTabSz="609630"/>
            <a:r>
              <a:rPr lang="en-US" sz="640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/>
              </a:rPr>
              <a:t>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2FD4B17-043B-4EE3-8EBC-948836A22249}"/>
              </a:ext>
            </a:extLst>
          </p:cNvPr>
          <p:cNvSpPr txBox="1"/>
          <p:nvPr/>
        </p:nvSpPr>
        <p:spPr>
          <a:xfrm>
            <a:off x="-43871" y="3242587"/>
            <a:ext cx="22588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ấy</a:t>
            </a:r>
            <a:endParaRPr lang="en-US" sz="2400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A6487FF-E516-468F-B971-1D63565F4604}"/>
              </a:ext>
            </a:extLst>
          </p:cNvPr>
          <p:cNvSpPr txBox="1"/>
          <p:nvPr/>
        </p:nvSpPr>
        <p:spPr>
          <a:xfrm>
            <a:off x="2263426" y="3242588"/>
            <a:ext cx="23604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ạm</a:t>
            </a:r>
            <a:endParaRPr lang="en-US" sz="2400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0A5FCC9-B99C-42E3-9719-8387B5F3CCA3}"/>
              </a:ext>
            </a:extLst>
          </p:cNvPr>
          <p:cNvSpPr txBox="1"/>
          <p:nvPr/>
        </p:nvSpPr>
        <p:spPr>
          <a:xfrm>
            <a:off x="4708299" y="3176880"/>
            <a:ext cx="269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he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ấy</a:t>
            </a:r>
            <a:endParaRPr lang="en-US" sz="2400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E2AEB51-573D-49E6-8FF9-254490D98BBD}"/>
              </a:ext>
            </a:extLst>
          </p:cNvPr>
          <p:cNvSpPr txBox="1"/>
          <p:nvPr/>
        </p:nvSpPr>
        <p:spPr>
          <a:xfrm>
            <a:off x="7362648" y="3157700"/>
            <a:ext cx="269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ửi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ấy</a:t>
            </a:r>
            <a:endParaRPr lang="en-US" sz="2400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6C112A2-5602-4983-A3CA-1FEE4350E18D}"/>
              </a:ext>
            </a:extLst>
          </p:cNvPr>
          <p:cNvSpPr txBox="1"/>
          <p:nvPr/>
        </p:nvSpPr>
        <p:spPr>
          <a:xfrm>
            <a:off x="10139264" y="3178609"/>
            <a:ext cx="1810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ếm</a:t>
            </a:r>
            <a:endParaRPr lang="en-US" sz="2400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49B87AF-CF8B-404D-80E9-E56250D6C31F}"/>
              </a:ext>
            </a:extLst>
          </p:cNvPr>
          <p:cNvSpPr txBox="1"/>
          <p:nvPr/>
        </p:nvSpPr>
        <p:spPr>
          <a:xfrm>
            <a:off x="110146" y="653421"/>
            <a:ext cx="9483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Cảm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nhận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về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đời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sống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cư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dân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Lang –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Âu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Lạc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bằng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5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giác</a:t>
            </a:r>
            <a:r>
              <a:rPr lang="en-US" sz="2400" dirty="0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quan</a:t>
            </a:r>
            <a:endParaRPr lang="en-US" sz="2400" dirty="0">
              <a:latin typeface="Times New Roman" panose="02020603050405020304" pitchFamily="18" charset="0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192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22" grpId="0"/>
      <p:bldP spid="23" grpId="0"/>
      <p:bldP spid="26" grpId="0"/>
      <p:bldP spid="28" grpId="0"/>
      <p:bldP spid="29" grpId="0"/>
      <p:bldP spid="37" grpId="0"/>
      <p:bldP spid="3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96A2993-46AB-4FD2-8B48-BFB8F9DBB6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687" t="25726" r="43146" b="56784"/>
          <a:stretch/>
        </p:blipFill>
        <p:spPr>
          <a:xfrm>
            <a:off x="5630345" y="1277538"/>
            <a:ext cx="1117600" cy="10649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A14A2BF-2501-403B-9846-6E57F943EC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009" t="25726" r="33825" b="56784"/>
          <a:stretch/>
        </p:blipFill>
        <p:spPr>
          <a:xfrm>
            <a:off x="8225373" y="1277538"/>
            <a:ext cx="1117600" cy="10649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C6A708C-D649-484F-9A80-10FD263FB9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437" t="25726" r="24396" b="56784"/>
          <a:stretch/>
        </p:blipFill>
        <p:spPr>
          <a:xfrm>
            <a:off x="10388565" y="1331222"/>
            <a:ext cx="1117600" cy="110900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D51D719-48B0-44A8-AB12-0326F19633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735" t="25726" r="14947" b="56784"/>
          <a:stretch/>
        </p:blipFill>
        <p:spPr>
          <a:xfrm>
            <a:off x="3016906" y="1277538"/>
            <a:ext cx="1136012" cy="106492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08E81D8-2181-4711-B8F6-AD1185B491B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873" t="25726" r="5417" b="56784"/>
          <a:stretch/>
        </p:blipFill>
        <p:spPr>
          <a:xfrm>
            <a:off x="355600" y="1262868"/>
            <a:ext cx="1183879" cy="10795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82EE90-4227-418A-9172-DA11FC30C34B}"/>
              </a:ext>
            </a:extLst>
          </p:cNvPr>
          <p:cNvSpPr txBox="1"/>
          <p:nvPr/>
        </p:nvSpPr>
        <p:spPr>
          <a:xfrm>
            <a:off x="8712165" y="105489"/>
            <a:ext cx="3352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PHIẾU HỌC TẬP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879ED2-81C1-4F60-B807-2B4FA6CFE217}"/>
              </a:ext>
            </a:extLst>
          </p:cNvPr>
          <p:cNvCxnSpPr>
            <a:cxnSpLocks/>
          </p:cNvCxnSpPr>
          <p:nvPr/>
        </p:nvCxnSpPr>
        <p:spPr>
          <a:xfrm>
            <a:off x="2242128" y="1978491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800729B-8AF6-4C38-9845-581D314135CB}"/>
              </a:ext>
            </a:extLst>
          </p:cNvPr>
          <p:cNvCxnSpPr>
            <a:cxnSpLocks/>
          </p:cNvCxnSpPr>
          <p:nvPr/>
        </p:nvCxnSpPr>
        <p:spPr>
          <a:xfrm>
            <a:off x="4724400" y="1955800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0CE3064-21D9-4A5C-8633-112256946570}"/>
              </a:ext>
            </a:extLst>
          </p:cNvPr>
          <p:cNvCxnSpPr>
            <a:cxnSpLocks/>
          </p:cNvCxnSpPr>
          <p:nvPr/>
        </p:nvCxnSpPr>
        <p:spPr>
          <a:xfrm>
            <a:off x="7315200" y="1955800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918AE0-6BD7-476B-9263-5134308284FF}"/>
              </a:ext>
            </a:extLst>
          </p:cNvPr>
          <p:cNvCxnSpPr>
            <a:cxnSpLocks/>
          </p:cNvCxnSpPr>
          <p:nvPr/>
        </p:nvCxnSpPr>
        <p:spPr>
          <a:xfrm>
            <a:off x="9906000" y="1955800"/>
            <a:ext cx="0" cy="45212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ame 26">
            <a:extLst>
              <a:ext uri="{FF2B5EF4-FFF2-40B4-BE49-F238E27FC236}">
                <a16:creationId xmlns:a16="http://schemas.microsoft.com/office/drawing/2014/main" id="{9E4079DD-4402-4C3B-970D-8FDF30FCCA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91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49B87AF-CF8B-404D-80E9-E56250D6C31F}"/>
              </a:ext>
            </a:extLst>
          </p:cNvPr>
          <p:cNvSpPr txBox="1"/>
          <p:nvPr/>
        </p:nvSpPr>
        <p:spPr>
          <a:xfrm>
            <a:off x="163935" y="86227"/>
            <a:ext cx="40005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KHỞI ĐỘNG (5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phú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740B3E-96A1-482C-9866-E1B4CC94BCFF}"/>
              </a:ext>
            </a:extLst>
          </p:cNvPr>
          <p:cNvSpPr/>
          <p:nvPr/>
        </p:nvSpPr>
        <p:spPr>
          <a:xfrm>
            <a:off x="6798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0" i="0" u="none" strike="noStrike" kern="1200" cap="none" spc="0" normalizeH="0" baseline="0" noProof="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576E94D-A67F-46C9-B29E-92E27297F50F}"/>
              </a:ext>
            </a:extLst>
          </p:cNvPr>
          <p:cNvSpPr/>
          <p:nvPr/>
        </p:nvSpPr>
        <p:spPr>
          <a:xfrm>
            <a:off x="32833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0" i="0" u="none" strike="noStrike" kern="1200" cap="none" spc="0" normalizeH="0" baseline="0" noProof="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B8948AA-FB8F-4BF2-9497-A24495307E2F}"/>
              </a:ext>
            </a:extLst>
          </p:cNvPr>
          <p:cNvSpPr/>
          <p:nvPr/>
        </p:nvSpPr>
        <p:spPr>
          <a:xfrm>
            <a:off x="58868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0" i="0" u="none" strike="noStrike" kern="1200" cap="none" spc="0" normalizeH="0" baseline="0" noProof="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0314F62-5B17-4B15-9BCB-7D0D2C8C576E}"/>
              </a:ext>
            </a:extLst>
          </p:cNvPr>
          <p:cNvSpPr/>
          <p:nvPr/>
        </p:nvSpPr>
        <p:spPr>
          <a:xfrm>
            <a:off x="8490343" y="2108200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0" i="0" u="none" strike="noStrike" kern="1200" cap="none" spc="0" normalizeH="0" baseline="0" noProof="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85B0F2-4F95-4D7C-8F21-7FAC4FFC840A}"/>
              </a:ext>
            </a:extLst>
          </p:cNvPr>
          <p:cNvSpPr/>
          <p:nvPr/>
        </p:nvSpPr>
        <p:spPr>
          <a:xfrm>
            <a:off x="10756439" y="2147194"/>
            <a:ext cx="539891" cy="1046440"/>
          </a:xfrm>
          <a:prstGeom prst="rect">
            <a:avLst/>
          </a:prstGeom>
          <a:noFill/>
        </p:spPr>
        <p:txBody>
          <a:bodyPr wrap="none" lIns="60960" tIns="30480" rIns="60960" bIns="3048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0" i="0" u="none" strike="noStrike" kern="1200" cap="none" spc="0" normalizeH="0" baseline="0" noProof="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2FD4B17-043B-4EE3-8EBC-948836A22249}"/>
              </a:ext>
            </a:extLst>
          </p:cNvPr>
          <p:cNvSpPr txBox="1"/>
          <p:nvPr/>
        </p:nvSpPr>
        <p:spPr>
          <a:xfrm>
            <a:off x="66849" y="3078834"/>
            <a:ext cx="22588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iề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ể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ấ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A6487FF-E516-468F-B971-1D63565F4604}"/>
              </a:ext>
            </a:extLst>
          </p:cNvPr>
          <p:cNvSpPr txBox="1"/>
          <p:nvPr/>
        </p:nvSpPr>
        <p:spPr>
          <a:xfrm>
            <a:off x="2263694" y="3078833"/>
            <a:ext cx="23604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iề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ể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ạm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0A5FCC9-B99C-42E3-9719-8387B5F3CCA3}"/>
              </a:ext>
            </a:extLst>
          </p:cNvPr>
          <p:cNvSpPr txBox="1"/>
          <p:nvPr/>
        </p:nvSpPr>
        <p:spPr>
          <a:xfrm>
            <a:off x="4664692" y="3086726"/>
            <a:ext cx="269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iề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ể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gh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ấ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E2AEB51-573D-49E6-8FF9-254490D98BBD}"/>
              </a:ext>
            </a:extLst>
          </p:cNvPr>
          <p:cNvSpPr txBox="1"/>
          <p:nvPr/>
        </p:nvSpPr>
        <p:spPr>
          <a:xfrm>
            <a:off x="7277172" y="3130089"/>
            <a:ext cx="269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iề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ể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gử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ấ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6C112A2-5602-4983-A3CA-1FEE4350E18D}"/>
              </a:ext>
            </a:extLst>
          </p:cNvPr>
          <p:cNvSpPr txBox="1"/>
          <p:nvPr/>
        </p:nvSpPr>
        <p:spPr>
          <a:xfrm>
            <a:off x="10057140" y="3142967"/>
            <a:ext cx="1810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iề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ể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ếm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49B87AF-CF8B-404D-80E9-E56250D6C31F}"/>
              </a:ext>
            </a:extLst>
          </p:cNvPr>
          <p:cNvSpPr txBox="1"/>
          <p:nvPr/>
        </p:nvSpPr>
        <p:spPr>
          <a:xfrm>
            <a:off x="110146" y="653421"/>
            <a:ext cx="9483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Cả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nhậ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về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đ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số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củ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cư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dâ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V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Lang –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L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bằ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5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gi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qua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544" y="3931370"/>
            <a:ext cx="1866177" cy="26476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7815" y="3932521"/>
            <a:ext cx="1910783" cy="25671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2928" y="3985302"/>
            <a:ext cx="2331133" cy="221933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9022" y="4118488"/>
            <a:ext cx="1726285" cy="219523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57140" y="4239091"/>
            <a:ext cx="2067075" cy="161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866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02C864D-9B13-4C43-9E2A-6CCB0887FB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3349" y="5968"/>
            <a:ext cx="12217046" cy="80392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048869" y="147700"/>
            <a:ext cx="10502153" cy="520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endParaRPr lang="en-US" sz="26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350350" y="2864837"/>
            <a:ext cx="3743348" cy="3162639"/>
          </a:xfrm>
          <a:prstGeom prst="wedgeRoundRectCallout">
            <a:avLst>
              <a:gd name="adj1" fmla="val 748"/>
              <a:gd name="adj2" fmla="val -61858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V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ưa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a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ỏ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anh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ào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ất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ờ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ước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ành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uyền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ả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ờ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ỗ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ả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ờ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úng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2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iểm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ếu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ả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ờ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a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ạn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ành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uyền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ả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ời</a:t>
            </a:r>
            <a:r>
              <a:rPr lang="en-US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0135" y="1069145"/>
            <a:ext cx="6950887" cy="5472332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>
          <a:xfrm>
            <a:off x="658339" y="1173764"/>
            <a:ext cx="3055532" cy="1203676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845164" y="1544769"/>
            <a:ext cx="26818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I NHANH HƠN</a:t>
            </a:r>
          </a:p>
        </p:txBody>
      </p:sp>
    </p:spTree>
    <p:extLst>
      <p:ext uri="{BB962C8B-B14F-4D97-AF65-F5344CB8AC3E}">
        <p14:creationId xmlns:p14="http://schemas.microsoft.com/office/powerpoint/2010/main" val="1379515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997337" y="5601855"/>
            <a:ext cx="850645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ẩ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ạ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ạ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ẻ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a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ú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ủ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ô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u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)</a:t>
            </a: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83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1.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uồ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ứ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ính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ồm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ữ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53358" y="1926320"/>
            <a:ext cx="3725963" cy="335670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4744" y="1926320"/>
            <a:ext cx="4027911" cy="334518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153386" y="1926319"/>
            <a:ext cx="3836535" cy="3386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31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5298335" y="5712554"/>
            <a:ext cx="1603992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àn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9982" y="1896330"/>
            <a:ext cx="4046596" cy="330244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629042" y="480730"/>
            <a:ext cx="7715510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2.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à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ở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 -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94744" y="1896329"/>
            <a:ext cx="3680421" cy="33024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63785" y="1896153"/>
            <a:ext cx="3626136" cy="330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41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2082455" y="5764194"/>
            <a:ext cx="850645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ụ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am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ố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ữ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ặ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o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áy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â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ấ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83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3: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a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ụ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ườ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ày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0877" y="1825277"/>
            <a:ext cx="6248400" cy="3657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13377" y="1959594"/>
            <a:ext cx="4809589" cy="3448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" descr="(Ảnh: Edraw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#9Slide02 Noi dung dai"/>
              <a:ea typeface="+mn-ea"/>
              <a:cs typeface="+mn-cs"/>
            </a:endParaRPr>
          </a:p>
        </p:txBody>
      </p:sp>
      <p:sp>
        <p:nvSpPr>
          <p:cNvPr id="9" name="Google Shape;337;p20"/>
          <p:cNvSpPr txBox="1">
            <a:spLocks noGrp="1"/>
          </p:cNvSpPr>
          <p:nvPr>
            <p:ph type="title"/>
          </p:nvPr>
        </p:nvSpPr>
        <p:spPr>
          <a:xfrm>
            <a:off x="4666129" y="307968"/>
            <a:ext cx="4040848" cy="557609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sz="4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ỞI ĐỘNG</a:t>
            </a:r>
            <a:endParaRPr sz="4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081" y="4787153"/>
            <a:ext cx="3266048" cy="19419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155575" y="1268024"/>
            <a:ext cx="5506509" cy="4052173"/>
          </a:xfrm>
          <a:prstGeom prst="wedgeRoundRectCallout">
            <a:avLst>
              <a:gd name="adj1" fmla="val 2391"/>
              <a:gd name="adj2" fmla="val 62119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3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en-US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ơi</a:t>
            </a:r>
            <a:endParaRPr lang="en-US" sz="3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en-US" sz="3200" b="1" dirty="0" err="1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i</a:t>
            </a:r>
            <a:r>
              <a:rPr lang="en-US" sz="3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anh</a:t>
            </a:r>
            <a:r>
              <a:rPr lang="en-US" sz="3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sz="3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ơn</a:t>
            </a:r>
            <a:r>
              <a:rPr lang="en-US" sz="3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n-US" sz="3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S </a:t>
            </a:r>
            <a:r>
              <a:rPr lang="vi-VN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ẽ lần lượt trả lời các câu hỏi xuất hiện trong trò chơi trong thời gian 5 phút để truy tìm được những dấu tích của văn minh Văn Lang – Âu Lạc. Quét mã QR để tham gia trò chơi. 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https://langson.qweb.com.vn/wp-content/uploads/2026/04/qr-9223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590" y="1268024"/>
            <a:ext cx="4309098" cy="430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476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3669636" y="5851744"/>
            <a:ext cx="4965459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ươ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ệ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yề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è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83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4: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ươ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ệ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i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i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ủ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yế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ê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ô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43043" y="1987951"/>
            <a:ext cx="5619603" cy="3339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03442" y="2068169"/>
            <a:ext cx="4969689" cy="333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94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3669636" y="5851744"/>
            <a:ext cx="4965459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ố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83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5: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oại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ụ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ổ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iế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0926" y="1940784"/>
            <a:ext cx="4408000" cy="346948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312932" y="1929017"/>
            <a:ext cx="6257925" cy="3655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6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2384068" y="6017354"/>
            <a:ext cx="772235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ụ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ầ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uộ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ă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6: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o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ụ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ập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á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ặ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ắ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11295" y="1995604"/>
            <a:ext cx="4526992" cy="34861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78459" y="1926807"/>
            <a:ext cx="3276885" cy="35431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76748" y="1967108"/>
            <a:ext cx="3863250" cy="346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96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980085" y="5653045"/>
            <a:ext cx="8449634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ù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ặ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ú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ú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ù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ủ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ĩnh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7: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í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ưỡ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ổ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ế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í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ưỡ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ào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0877" y="1845295"/>
            <a:ext cx="6248400" cy="34671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18252" y="1845295"/>
            <a:ext cx="4037428" cy="346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8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840150" y="5712554"/>
            <a:ext cx="8820829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ắ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ề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ù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8: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ễ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ổ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ế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  <a:endParaRPr lang="en-US" sz="4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6362" y="1862030"/>
            <a:ext cx="5427324" cy="36642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93621" y="1862030"/>
            <a:ext cx="5679320" cy="365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34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480" y="907923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3705710" y="5810311"/>
            <a:ext cx="8449634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u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yề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ấ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ậ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627199" y="560677"/>
            <a:ext cx="74264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9: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ịp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ễ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ường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ơi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ì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340404" y="1994895"/>
            <a:ext cx="5255207" cy="33713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6813" y="1801553"/>
            <a:ext cx="5371588" cy="361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C97931-3855-4346-8552-0397AD943E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914" y="5007595"/>
            <a:ext cx="1189007" cy="1661113"/>
          </a:xfrm>
          <a:prstGeom prst="rect">
            <a:avLst/>
          </a:prstGeom>
        </p:spPr>
      </p:pic>
      <p:pic>
        <p:nvPicPr>
          <p:cNvPr id="9" name="Picture 8" descr="A insect on the ground&#10;&#10;Description automatically generated">
            <a:extLst>
              <a:ext uri="{FF2B5EF4-FFF2-40B4-BE49-F238E27FC236}">
                <a16:creationId xmlns:a16="http://schemas.microsoft.com/office/drawing/2014/main" id="{D570F14C-05FC-426D-8191-A7CDBD8175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421" y="1077107"/>
            <a:ext cx="1078144" cy="1032861"/>
          </a:xfrm>
          <a:prstGeom prst="rect">
            <a:avLst/>
          </a:prstGeom>
        </p:spPr>
      </p:pic>
      <p:pic>
        <p:nvPicPr>
          <p:cNvPr id="2" name="Bus Sound Effects">
            <a:hlinkClick r:id="" action="ppaction://media"/>
            <a:extLst>
              <a:ext uri="{FF2B5EF4-FFF2-40B4-BE49-F238E27FC236}">
                <a16:creationId xmlns:a16="http://schemas.microsoft.com/office/drawing/2014/main" id="{B4F5C31A-1602-4858-B05B-92D3530B551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440" end="15675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3866187"/>
            <a:ext cx="609600" cy="609600"/>
          </a:xfrm>
          <a:prstGeom prst="rect">
            <a:avLst/>
          </a:prstGeom>
        </p:spPr>
      </p:pic>
      <p:pic>
        <p:nvPicPr>
          <p:cNvPr id="3" name="Bus Horn sound effect">
            <a:hlinkClick r:id="" action="ppaction://media"/>
            <a:extLst>
              <a:ext uri="{FF2B5EF4-FFF2-40B4-BE49-F238E27FC236}">
                <a16:creationId xmlns:a16="http://schemas.microsoft.com/office/drawing/2014/main" id="{C0812635-EA3E-49A2-8AE6-8D2DE40ECDC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4702795"/>
            <a:ext cx="609600" cy="609600"/>
          </a:xfrm>
          <a:prstGeom prst="rect">
            <a:avLst/>
          </a:prstGeom>
        </p:spPr>
      </p:pic>
      <p:pic>
        <p:nvPicPr>
          <p:cNvPr id="28" name="Picture 27" descr="A picture containing food&#10;&#10;Description automatically generated">
            <a:extLst>
              <a:ext uri="{FF2B5EF4-FFF2-40B4-BE49-F238E27FC236}">
                <a16:creationId xmlns:a16="http://schemas.microsoft.com/office/drawing/2014/main" id="{6D6F8CAF-9C6F-4794-9D75-A26511E717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93" y="229753"/>
            <a:ext cx="1519851" cy="151985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2009156" y="5712554"/>
            <a:ext cx="8482818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yề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y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o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ổ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ong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â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ủ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á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ầ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" name="Fail! (sound effect)">
            <a:hlinkClick r:id="" action="ppaction://media"/>
            <a:extLst>
              <a:ext uri="{FF2B5EF4-FFF2-40B4-BE49-F238E27FC236}">
                <a16:creationId xmlns:a16="http://schemas.microsoft.com/office/drawing/2014/main" id="{C2F89CED-7CB4-4EE0-AF27-6B8132668842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13927" y="5407754"/>
            <a:ext cx="609600" cy="60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31151"/>
            <a:ext cx="2331257" cy="17184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411538" y="229753"/>
            <a:ext cx="80829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âu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0: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ể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ê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3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ẩm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yề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iệ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yề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yế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oạ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ổ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)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ờ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ướ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ì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6362" y="5407754"/>
            <a:ext cx="1373854" cy="118550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35425" y="2077774"/>
            <a:ext cx="3313097" cy="319503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55735" y="2026008"/>
            <a:ext cx="2507236" cy="326787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22288" y="2033418"/>
            <a:ext cx="2898688" cy="326046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0" y="2002079"/>
            <a:ext cx="2996418" cy="3299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audio>
              <p:cMediaNode vol="8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3"/>
                </p:tgtEl>
              </p:cMediaNode>
            </p:audio>
          </p:childTnLst>
        </p:cTn>
      </p:par>
    </p:tnLst>
    <p:bldLst>
      <p:bldP spid="2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48869" y="147700"/>
            <a:ext cx="10502153" cy="520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endParaRPr lang="en-US" sz="26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308918" y="4004628"/>
            <a:ext cx="4403760" cy="2553891"/>
          </a:xfrm>
          <a:prstGeom prst="wedgeRoundRectCallout">
            <a:avLst>
              <a:gd name="adj1" fmla="val 748"/>
              <a:gd name="adj2" fmla="val -61858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ã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6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ả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ư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inh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ế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3).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ỗ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ã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ú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5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ểm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918" y="809895"/>
            <a:ext cx="4403760" cy="2805502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2644725" y="1057393"/>
            <a:ext cx="1856937" cy="1038693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2910885" y="1198325"/>
            <a:ext cx="1696285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ẢI MÃ LỊCH SỬ</a:t>
            </a: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74945" y="95162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4946" y="5056784"/>
            <a:ext cx="6742402" cy="177463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7822" y="898056"/>
            <a:ext cx="7260054" cy="401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2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7209224" y="879424"/>
            <a:ext cx="17430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14981" y="2642973"/>
            <a:ext cx="6650993" cy="2423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ình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ảnh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ặ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ờ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14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,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ượ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ư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o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ươ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ữ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ác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a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í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o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ô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uô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im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ô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ượ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ư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o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m</a:t>
            </a:r>
            <a:endParaRPr lang="en-US" sz="2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ể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í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ưỡ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ờ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ầ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ặ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ờ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ù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á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ự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ê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ườ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ệ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ổ</a:t>
            </a:r>
            <a:endParaRPr lang="en-US" sz="24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4" y="253744"/>
            <a:ext cx="4401693" cy="280440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44" y="3229898"/>
            <a:ext cx="4401693" cy="3377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854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6324320" y="606319"/>
            <a:ext cx="17430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59226" y="1563226"/>
            <a:ext cx="6650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ả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à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im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im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ài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ật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ấ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ô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í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ệ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ê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ạ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ặ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ờ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4" y="253744"/>
            <a:ext cx="4401693" cy="280440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44" y="3244644"/>
            <a:ext cx="4401693" cy="34511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9226" y="3510945"/>
            <a:ext cx="6650993" cy="291852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3026" y="161728"/>
            <a:ext cx="3019425" cy="151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60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183481" y="202674"/>
            <a:ext cx="1063840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kumimoji="0" lang="en-US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lang="fr-FR" altLang="en-US" sz="2600" b="1" noProof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ở</a:t>
            </a:r>
            <a:r>
              <a:rPr lang="fr-FR" altLang="en-US" sz="2600" b="1" noProof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fr-FR" altLang="en-US" sz="2600" b="1" noProof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endParaRPr kumimoji="0" lang="en-US" altLang="en-US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4737" y="925776"/>
            <a:ext cx="3788228" cy="322936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2025" y="925777"/>
            <a:ext cx="2941321" cy="2728572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3218700"/>
              </p:ext>
            </p:extLst>
          </p:nvPr>
        </p:nvGraphicFramePr>
        <p:xfrm>
          <a:off x="5326508" y="4262670"/>
          <a:ext cx="6746838" cy="24339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746838">
                  <a:extLst>
                    <a:ext uri="{9D8B030D-6E8A-4147-A177-3AD203B41FA5}">
                      <a16:colId xmlns:a16="http://schemas.microsoft.com/office/drawing/2014/main" val="1681565768"/>
                    </a:ext>
                  </a:extLst>
                </a:gridCol>
              </a:tblGrid>
              <a:tr h="243396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ÔNG HỒNG, SÔNG MÃ, SÔNG CẢ; MƯA NHIỀU</a:t>
                      </a:r>
                      <a:endParaRPr lang="en-US" sz="20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UNG HOA;</a:t>
                      </a:r>
                      <a:r>
                        <a:rPr lang="en-US" sz="2000" b="1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HIỆT ĐỚI GIÓ MÙA                                              PHÙ SA;</a:t>
                      </a:r>
                      <a:r>
                        <a:rPr lang="en-US" sz="2000" b="1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HOÁNG SẢN;</a:t>
                      </a:r>
                      <a:r>
                        <a:rPr lang="en-US" sz="2000" b="1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IAO LƯU, TIẾP XÚC                                         </a:t>
                      </a:r>
                      <a:r>
                        <a:rPr lang="en-US" sz="2000" b="1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ẮC BỘ, BẮC TRUNG BỘ;</a:t>
                      </a:r>
                      <a:r>
                        <a:rPr lang="en-US" sz="2000" b="1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ÔNG CỤ LAO ĐỘNG                                                  </a:t>
                      </a:r>
                      <a:endParaRPr lang="en-US" sz="20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ÔNG NGHIỆP LÚA NƯỚC</a:t>
                      </a:r>
                      <a:endParaRPr lang="en-US" sz="20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419871"/>
                  </a:ext>
                </a:extLst>
              </a:tr>
            </a:tbl>
          </a:graphicData>
        </a:graphic>
      </p:graphicFrame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421481" y="898882"/>
            <a:ext cx="1063840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lang="en-US" altLang="en-US" sz="2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.</a:t>
            </a:r>
            <a:r>
              <a:rPr kumimoji="0" lang="en-US" altLang="en-US" sz="2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fr-FR" altLang="en-US" sz="2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ện</a:t>
            </a:r>
            <a:r>
              <a:rPr lang="fr-FR" altLang="en-US" sz="2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ự</a:t>
            </a:r>
            <a:r>
              <a:rPr lang="fr-FR" altLang="en-US" sz="2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iên</a:t>
            </a:r>
            <a:endParaRPr kumimoji="0" lang="en-US" altLang="en-US" sz="26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9822755" y="3681242"/>
            <a:ext cx="216286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lang="en-US" altLang="en-US" sz="24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altLang="en-US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ồng</a:t>
            </a:r>
            <a:endParaRPr kumimoji="0" lang="en-US" altLang="en-US" sz="24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398" y="4905234"/>
            <a:ext cx="3310415" cy="195276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197053" y="1534098"/>
            <a:ext cx="4583954" cy="3371136"/>
          </a:xfrm>
          <a:prstGeom prst="wedgeRoundRectCallout">
            <a:avLst>
              <a:gd name="adj1" fmla="val -1295"/>
              <a:gd name="adj2" fmla="val 56598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ẢO LUẬN CẶP ĐÔI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ự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ả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a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ĐIỂM HẸN VĂN HÓA VTV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ẫ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inh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ẵ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8269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6829396" y="527732"/>
            <a:ext cx="17430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3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85320" y="1222986"/>
            <a:ext cx="66509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ả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ã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ạo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ả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ạ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ả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ô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p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ú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ệ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ổ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4" y="253744"/>
            <a:ext cx="4401693" cy="280440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43" y="3058146"/>
            <a:ext cx="4401693" cy="346926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7584" y="3058145"/>
            <a:ext cx="5984705" cy="356773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048000" y="3073647"/>
            <a:ext cx="6096000" cy="7107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ình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ẽ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ô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ỏng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à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àn</a:t>
            </a:r>
            <a:endParaRPr lang="en-US" sz="16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óa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ở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endParaRPr lang="en-US" sz="16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399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6829396" y="527732"/>
            <a:ext cx="17430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4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4" y="253744"/>
            <a:ext cx="4401693" cy="280440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584" y="3058145"/>
            <a:ext cx="5984705" cy="356773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909624" y="1225303"/>
            <a:ext cx="7076050" cy="15010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ình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ẽ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ô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ỏ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à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àn</a:t>
            </a:r>
            <a:endParaRPr lang="en-US" sz="2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ể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ó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ở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endParaRPr lang="en-US" sz="24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44" y="3290263"/>
            <a:ext cx="4401693" cy="3567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810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6829396" y="527732"/>
            <a:ext cx="17430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5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4" y="253744"/>
            <a:ext cx="4401693" cy="280440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909624" y="1225303"/>
            <a:ext cx="707605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yề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au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ươ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ệ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024" y="3058147"/>
            <a:ext cx="6185927" cy="36662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2320" y="3468682"/>
            <a:ext cx="4670474" cy="1989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444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6829396" y="527732"/>
            <a:ext cx="17430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6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4" y="253744"/>
            <a:ext cx="4401693" cy="280440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909624" y="1225303"/>
            <a:ext cx="707605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ũ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a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ặ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o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ảy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úa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ời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nh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ầ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a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ú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ạc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ong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ú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ư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â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44" y="3170943"/>
            <a:ext cx="4710925" cy="34497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243" y="3170943"/>
            <a:ext cx="6248400" cy="344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747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493" y="3531660"/>
            <a:ext cx="3205682" cy="22508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3381" y="3416287"/>
            <a:ext cx="3205683" cy="25183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3246" y="3388561"/>
            <a:ext cx="4021608" cy="25738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532108" y="2771987"/>
            <a:ext cx="12404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5443809" y="2771987"/>
            <a:ext cx="12404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9814379" y="2723053"/>
            <a:ext cx="12404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3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532109" y="6066259"/>
            <a:ext cx="12404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4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5443809" y="6071029"/>
            <a:ext cx="12404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5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9814379" y="6132181"/>
            <a:ext cx="124048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6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493" y="318169"/>
            <a:ext cx="3480804" cy="230481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2172" y="318169"/>
            <a:ext cx="3938954" cy="23994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5001" y="318170"/>
            <a:ext cx="3474063" cy="245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104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3990953" y="25400"/>
            <a:ext cx="4435819" cy="134840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minh </a:t>
            </a:r>
            <a:r>
              <a:rPr lang="en-US" sz="2400" kern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400" kern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4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2"/>
          <p:cNvSpPr/>
          <p:nvPr/>
        </p:nvSpPr>
        <p:spPr>
          <a:xfrm>
            <a:off x="3025404" y="2106625"/>
            <a:ext cx="1532857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ờ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ố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ậ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ất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Nom1"/>
          <p:cNvSpPr/>
          <p:nvPr/>
        </p:nvSpPr>
        <p:spPr>
          <a:xfrm>
            <a:off x="5130801" y="3379449"/>
            <a:ext cx="623199" cy="540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ại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Nom1"/>
          <p:cNvSpPr/>
          <p:nvPr/>
        </p:nvSpPr>
        <p:spPr>
          <a:xfrm>
            <a:off x="4288058" y="3379449"/>
            <a:ext cx="609600" cy="540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Ở</a:t>
            </a:r>
          </a:p>
        </p:txBody>
      </p:sp>
      <p:sp>
        <p:nvSpPr>
          <p:cNvPr id="24" name="Nom1"/>
          <p:cNvSpPr/>
          <p:nvPr/>
        </p:nvSpPr>
        <p:spPr>
          <a:xfrm>
            <a:off x="10169646" y="4691635"/>
            <a:ext cx="696215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Ă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ầu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Nom2"/>
          <p:cNvSpPr/>
          <p:nvPr/>
        </p:nvSpPr>
        <p:spPr>
          <a:xfrm>
            <a:off x="9042400" y="4691635"/>
            <a:ext cx="979752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uộm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ă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e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Nom3"/>
          <p:cNvSpPr/>
          <p:nvPr/>
        </p:nvSpPr>
        <p:spPr>
          <a:xfrm>
            <a:off x="7660344" y="4652270"/>
            <a:ext cx="1234774" cy="1207765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ờ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ú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ổ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ê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ờ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ác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ầ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ự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iê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Nom2"/>
          <p:cNvSpPr/>
          <p:nvPr/>
        </p:nvSpPr>
        <p:spPr>
          <a:xfrm>
            <a:off x="4690937" y="4652271"/>
            <a:ext cx="998663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à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à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Nom3"/>
          <p:cNvSpPr/>
          <p:nvPr/>
        </p:nvSpPr>
        <p:spPr>
          <a:xfrm>
            <a:off x="3296882" y="4652271"/>
            <a:ext cx="1331668" cy="1678191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m: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ó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hố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ình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ầ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ữ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ặc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áy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à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áo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ếm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Nom2"/>
          <p:cNvSpPr/>
          <p:nvPr/>
        </p:nvSpPr>
        <p:spPr>
          <a:xfrm>
            <a:off x="1874693" y="4652271"/>
            <a:ext cx="1331668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ạo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ếp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ạo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ẻ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ắm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44" name="Nom3"/>
          <p:cNvSpPr/>
          <p:nvPr/>
        </p:nvSpPr>
        <p:spPr>
          <a:xfrm>
            <a:off x="452504" y="4652271"/>
            <a:ext cx="1331668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ô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ghiệp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Elbow Connector 6"/>
          <p:cNvCxnSpPr>
            <a:cxnSpLocks/>
            <a:stCxn id="3" idx="2"/>
            <a:endCxn id="12" idx="0"/>
          </p:cNvCxnSpPr>
          <p:nvPr/>
        </p:nvCxnSpPr>
        <p:spPr>
          <a:xfrm rot="16200000" flipH="1">
            <a:off x="7085351" y="765205"/>
            <a:ext cx="732823" cy="1950019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cxnSpLocks/>
            <a:stCxn id="3" idx="2"/>
            <a:endCxn id="13" idx="0"/>
          </p:cNvCxnSpPr>
          <p:nvPr/>
        </p:nvCxnSpPr>
        <p:spPr>
          <a:xfrm rot="5400000">
            <a:off x="4767881" y="397754"/>
            <a:ext cx="732823" cy="268492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Nom1"/>
          <p:cNvSpPr/>
          <p:nvPr/>
        </p:nvSpPr>
        <p:spPr>
          <a:xfrm>
            <a:off x="7660344" y="2106625"/>
            <a:ext cx="1532857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ờ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ố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nh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ầ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Nom1"/>
          <p:cNvSpPr/>
          <p:nvPr/>
        </p:nvSpPr>
        <p:spPr>
          <a:xfrm>
            <a:off x="9587637" y="3421636"/>
            <a:ext cx="1029563" cy="49781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o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ục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6" name="Elbow Connector 45"/>
          <p:cNvCxnSpPr>
            <a:cxnSpLocks/>
            <a:stCxn id="12" idx="2"/>
            <a:endCxn id="15" idx="0"/>
          </p:cNvCxnSpPr>
          <p:nvPr/>
        </p:nvCxnSpPr>
        <p:spPr>
          <a:xfrm rot="16200000" flipH="1">
            <a:off x="8877091" y="2196307"/>
            <a:ext cx="775010" cy="1675647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cxnSpLocks/>
            <a:stCxn id="12" idx="2"/>
            <a:endCxn id="99" idx="0"/>
          </p:cNvCxnSpPr>
          <p:nvPr/>
        </p:nvCxnSpPr>
        <p:spPr>
          <a:xfrm rot="5400000">
            <a:off x="7588472" y="2583335"/>
            <a:ext cx="775010" cy="90159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cxnSpLocks/>
            <a:stCxn id="13" idx="2"/>
            <a:endCxn id="22" idx="0"/>
          </p:cNvCxnSpPr>
          <p:nvPr/>
        </p:nvCxnSpPr>
        <p:spPr>
          <a:xfrm rot="16200000" flipH="1">
            <a:off x="4250705" y="2187753"/>
            <a:ext cx="732823" cy="1650568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cxnSpLocks/>
            <a:stCxn id="13" idx="2"/>
            <a:endCxn id="23" idx="0"/>
          </p:cNvCxnSpPr>
          <p:nvPr/>
        </p:nvCxnSpPr>
        <p:spPr>
          <a:xfrm rot="16200000" flipH="1">
            <a:off x="3825934" y="2612524"/>
            <a:ext cx="732823" cy="801026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/>
          <p:cNvCxnSpPr>
            <a:cxnSpLocks/>
            <a:stCxn id="15" idx="2"/>
            <a:endCxn id="115" idx="0"/>
          </p:cNvCxnSpPr>
          <p:nvPr/>
        </p:nvCxnSpPr>
        <p:spPr>
          <a:xfrm rot="16200000" flipH="1">
            <a:off x="10434662" y="3587205"/>
            <a:ext cx="772187" cy="1436674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>
            <a:cxnSpLocks/>
            <a:stCxn id="15" idx="2"/>
            <a:endCxn id="24" idx="0"/>
          </p:cNvCxnSpPr>
          <p:nvPr/>
        </p:nvCxnSpPr>
        <p:spPr>
          <a:xfrm rot="16200000" flipH="1">
            <a:off x="9923993" y="4097875"/>
            <a:ext cx="772187" cy="415335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cxnSpLocks/>
            <a:stCxn id="15" idx="2"/>
            <a:endCxn id="25" idx="0"/>
          </p:cNvCxnSpPr>
          <p:nvPr/>
        </p:nvCxnSpPr>
        <p:spPr>
          <a:xfrm rot="5400000">
            <a:off x="9431254" y="4020471"/>
            <a:ext cx="772187" cy="570143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cxnSpLocks/>
            <a:stCxn id="22" idx="2"/>
            <a:endCxn id="84" idx="0"/>
          </p:cNvCxnSpPr>
          <p:nvPr/>
        </p:nvCxnSpPr>
        <p:spPr>
          <a:xfrm rot="16200000" flipH="1">
            <a:off x="5632772" y="3729077"/>
            <a:ext cx="721387" cy="110213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cxnSpLocks/>
            <a:stCxn id="49" idx="2"/>
            <a:endCxn id="43" idx="0"/>
          </p:cNvCxnSpPr>
          <p:nvPr/>
        </p:nvCxnSpPr>
        <p:spPr>
          <a:xfrm rot="5400000">
            <a:off x="2353234" y="4098129"/>
            <a:ext cx="741435" cy="366847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cxnSpLocks/>
            <a:stCxn id="23" idx="2"/>
            <a:endCxn id="33" idx="0"/>
          </p:cNvCxnSpPr>
          <p:nvPr/>
        </p:nvCxnSpPr>
        <p:spPr>
          <a:xfrm rot="16200000" flipH="1">
            <a:off x="4525153" y="3987154"/>
            <a:ext cx="732822" cy="597411"/>
          </a:xfrm>
          <a:prstGeom prst="curved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Nom1">
            <a:extLst>
              <a:ext uri="{FF2B5EF4-FFF2-40B4-BE49-F238E27FC236}">
                <a16:creationId xmlns:a16="http://schemas.microsoft.com/office/drawing/2014/main" id="{F5C8CF1C-5847-4121-A3A9-139D4B3E9F2B}"/>
              </a:ext>
            </a:extLst>
          </p:cNvPr>
          <p:cNvSpPr/>
          <p:nvPr/>
        </p:nvSpPr>
        <p:spPr>
          <a:xfrm>
            <a:off x="101600" y="3362222"/>
            <a:ext cx="2267832" cy="540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ạ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ộn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inh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ế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ính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Nom1">
            <a:extLst>
              <a:ext uri="{FF2B5EF4-FFF2-40B4-BE49-F238E27FC236}">
                <a16:creationId xmlns:a16="http://schemas.microsoft.com/office/drawing/2014/main" id="{173E3AB5-9055-438A-BA2C-EE497A5405C0}"/>
              </a:ext>
            </a:extLst>
          </p:cNvPr>
          <p:cNvSpPr/>
          <p:nvPr/>
        </p:nvSpPr>
        <p:spPr>
          <a:xfrm>
            <a:off x="2602574" y="3370835"/>
            <a:ext cx="609600" cy="540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Ă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Nom1">
            <a:extLst>
              <a:ext uri="{FF2B5EF4-FFF2-40B4-BE49-F238E27FC236}">
                <a16:creationId xmlns:a16="http://schemas.microsoft.com/office/drawing/2014/main" id="{CDC4722E-7F51-4E51-82E8-5F6B622BBE8F}"/>
              </a:ext>
            </a:extLst>
          </p:cNvPr>
          <p:cNvSpPr/>
          <p:nvPr/>
        </p:nvSpPr>
        <p:spPr>
          <a:xfrm>
            <a:off x="3445316" y="3370835"/>
            <a:ext cx="609600" cy="540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ặc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5" name="Elbow Connector 105">
            <a:extLst>
              <a:ext uri="{FF2B5EF4-FFF2-40B4-BE49-F238E27FC236}">
                <a16:creationId xmlns:a16="http://schemas.microsoft.com/office/drawing/2014/main" id="{526D1B76-5E8C-481D-866F-DEEBD0E1E73C}"/>
              </a:ext>
            </a:extLst>
          </p:cNvPr>
          <p:cNvCxnSpPr>
            <a:cxnSpLocks/>
            <a:stCxn id="48" idx="2"/>
          </p:cNvCxnSpPr>
          <p:nvPr/>
        </p:nvCxnSpPr>
        <p:spPr>
          <a:xfrm rot="5400000">
            <a:off x="780164" y="4196918"/>
            <a:ext cx="750049" cy="160657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108">
            <a:extLst>
              <a:ext uri="{FF2B5EF4-FFF2-40B4-BE49-F238E27FC236}">
                <a16:creationId xmlns:a16="http://schemas.microsoft.com/office/drawing/2014/main" id="{C5825A25-103A-4C6D-9465-34271FFD002C}"/>
              </a:ext>
            </a:extLst>
          </p:cNvPr>
          <p:cNvCxnSpPr>
            <a:cxnSpLocks/>
            <a:stCxn id="52" idx="2"/>
          </p:cNvCxnSpPr>
          <p:nvPr/>
        </p:nvCxnSpPr>
        <p:spPr>
          <a:xfrm rot="16200000" flipH="1">
            <a:off x="3485373" y="4175579"/>
            <a:ext cx="770323" cy="240836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Nom2">
            <a:extLst>
              <a:ext uri="{FF2B5EF4-FFF2-40B4-BE49-F238E27FC236}">
                <a16:creationId xmlns:a16="http://schemas.microsoft.com/office/drawing/2014/main" id="{E5A56CA0-DE13-4F51-A00F-C6C4FCB42374}"/>
              </a:ext>
            </a:extLst>
          </p:cNvPr>
          <p:cNvSpPr/>
          <p:nvPr/>
        </p:nvSpPr>
        <p:spPr>
          <a:xfrm>
            <a:off x="6045200" y="4640835"/>
            <a:ext cx="998663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uyề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8" name="Elbow Connector 49">
            <a:extLst>
              <a:ext uri="{FF2B5EF4-FFF2-40B4-BE49-F238E27FC236}">
                <a16:creationId xmlns:a16="http://schemas.microsoft.com/office/drawing/2014/main" id="{696E9560-9BB6-4487-B430-83348739E672}"/>
              </a:ext>
            </a:extLst>
          </p:cNvPr>
          <p:cNvCxnSpPr>
            <a:cxnSpLocks/>
            <a:stCxn id="13" idx="2"/>
            <a:endCxn id="48" idx="0"/>
          </p:cNvCxnSpPr>
          <p:nvPr/>
        </p:nvCxnSpPr>
        <p:spPr>
          <a:xfrm rot="5400000">
            <a:off x="2155876" y="1726265"/>
            <a:ext cx="715597" cy="2556316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49">
            <a:extLst>
              <a:ext uri="{FF2B5EF4-FFF2-40B4-BE49-F238E27FC236}">
                <a16:creationId xmlns:a16="http://schemas.microsoft.com/office/drawing/2014/main" id="{B539BA82-94D6-4B6A-B93B-381688D2CAF4}"/>
              </a:ext>
            </a:extLst>
          </p:cNvPr>
          <p:cNvCxnSpPr>
            <a:cxnSpLocks/>
            <a:stCxn id="13" idx="2"/>
            <a:endCxn id="49" idx="0"/>
          </p:cNvCxnSpPr>
          <p:nvPr/>
        </p:nvCxnSpPr>
        <p:spPr>
          <a:xfrm rot="5400000">
            <a:off x="2987499" y="2566502"/>
            <a:ext cx="724210" cy="884458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49">
            <a:extLst>
              <a:ext uri="{FF2B5EF4-FFF2-40B4-BE49-F238E27FC236}">
                <a16:creationId xmlns:a16="http://schemas.microsoft.com/office/drawing/2014/main" id="{0A52201A-246E-49D1-B0B3-2212DC715CED}"/>
              </a:ext>
            </a:extLst>
          </p:cNvPr>
          <p:cNvCxnSpPr>
            <a:cxnSpLocks/>
            <a:stCxn id="13" idx="2"/>
            <a:endCxn id="52" idx="0"/>
          </p:cNvCxnSpPr>
          <p:nvPr/>
        </p:nvCxnSpPr>
        <p:spPr>
          <a:xfrm rot="5400000">
            <a:off x="3408870" y="2987872"/>
            <a:ext cx="724210" cy="41716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Nom1">
            <a:extLst>
              <a:ext uri="{FF2B5EF4-FFF2-40B4-BE49-F238E27FC236}">
                <a16:creationId xmlns:a16="http://schemas.microsoft.com/office/drawing/2014/main" id="{4F60075D-0EB0-479B-BA39-40E01DB5A9EA}"/>
              </a:ext>
            </a:extLst>
          </p:cNvPr>
          <p:cNvSpPr/>
          <p:nvPr/>
        </p:nvSpPr>
        <p:spPr>
          <a:xfrm>
            <a:off x="7010400" y="3421635"/>
            <a:ext cx="1029563" cy="540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í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gưỡng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0" name="Elbow Connector 62">
            <a:extLst>
              <a:ext uri="{FF2B5EF4-FFF2-40B4-BE49-F238E27FC236}">
                <a16:creationId xmlns:a16="http://schemas.microsoft.com/office/drawing/2014/main" id="{CD57E61D-F215-4C26-A096-548E15372B13}"/>
              </a:ext>
            </a:extLst>
          </p:cNvPr>
          <p:cNvCxnSpPr>
            <a:cxnSpLocks/>
            <a:stCxn id="99" idx="2"/>
            <a:endCxn id="26" idx="0"/>
          </p:cNvCxnSpPr>
          <p:nvPr/>
        </p:nvCxnSpPr>
        <p:spPr>
          <a:xfrm rot="16200000" flipH="1">
            <a:off x="7556139" y="3930678"/>
            <a:ext cx="690635" cy="752549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Nom1">
            <a:extLst>
              <a:ext uri="{FF2B5EF4-FFF2-40B4-BE49-F238E27FC236}">
                <a16:creationId xmlns:a16="http://schemas.microsoft.com/office/drawing/2014/main" id="{FA2B4F7E-D177-4CA5-90AF-6F45ED4AD0E9}"/>
              </a:ext>
            </a:extLst>
          </p:cNvPr>
          <p:cNvSpPr/>
          <p:nvPr/>
        </p:nvSpPr>
        <p:spPr>
          <a:xfrm>
            <a:off x="11190985" y="4691635"/>
            <a:ext cx="696215" cy="540000"/>
          </a:xfrm>
          <a:prstGeom prst="round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ăm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ình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8215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500"/>
                            </p:stCondLst>
                            <p:childTnLst>
                              <p:par>
                                <p:cTn id="9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8000"/>
                            </p:stCondLst>
                            <p:childTnLst>
                              <p:par>
                                <p:cTn id="10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8500"/>
                            </p:stCondLst>
                            <p:childTnLst>
                              <p:par>
                                <p:cTn id="10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9000"/>
                            </p:stCondLst>
                            <p:childTnLst>
                              <p:par>
                                <p:cTn id="1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9500"/>
                            </p:stCondLst>
                            <p:childTnLst>
                              <p:par>
                                <p:cTn id="11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0500"/>
                            </p:stCondLst>
                            <p:childTnLst>
                              <p:par>
                                <p:cTn id="13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4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3000"/>
                            </p:stCondLst>
                            <p:childTnLst>
                              <p:par>
                                <p:cTn id="1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13500"/>
                            </p:stCondLst>
                            <p:childTnLst>
                              <p:par>
                                <p:cTn id="16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4000"/>
                            </p:stCondLst>
                            <p:childTnLst>
                              <p:par>
                                <p:cTn id="17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14500"/>
                            </p:stCondLst>
                            <p:childTnLst>
                              <p:par>
                                <p:cTn id="17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5000"/>
                            </p:stCondLst>
                            <p:childTnLst>
                              <p:par>
                                <p:cTn id="18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5500"/>
                            </p:stCondLst>
                            <p:childTnLst>
                              <p:par>
                                <p:cTn id="19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16000"/>
                            </p:stCondLst>
                            <p:childTnLst>
                              <p:par>
                                <p:cTn id="19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>
                            <p:stCondLst>
                              <p:cond delay="16500"/>
                            </p:stCondLst>
                            <p:childTnLst>
                              <p:par>
                                <p:cTn id="20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17000"/>
                            </p:stCondLst>
                            <p:childTnLst>
                              <p:par>
                                <p:cTn id="20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17500"/>
                            </p:stCondLst>
                            <p:childTnLst>
                              <p:par>
                                <p:cTn id="2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18000"/>
                            </p:stCondLst>
                            <p:childTnLst>
                              <p:par>
                                <p:cTn id="2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33" grpId="0" animBg="1"/>
      <p:bldP spid="34" grpId="0" animBg="1"/>
      <p:bldP spid="43" grpId="0" animBg="1"/>
      <p:bldP spid="44" grpId="0" animBg="1"/>
      <p:bldP spid="12" grpId="0" animBg="1"/>
      <p:bldP spid="15" grpId="0" animBg="1"/>
      <p:bldP spid="48" grpId="0" animBg="1"/>
      <p:bldP spid="49" grpId="0" animBg="1"/>
      <p:bldP spid="52" grpId="0" animBg="1"/>
      <p:bldP spid="84" grpId="0" animBg="1"/>
      <p:bldP spid="99" grpId="0" animBg="1"/>
      <p:bldP spid="11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48869" y="147700"/>
            <a:ext cx="10502153" cy="520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endParaRPr lang="en-US" sz="26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198408" y="2834866"/>
            <a:ext cx="4766026" cy="3779758"/>
          </a:xfrm>
          <a:prstGeom prst="wedgeRoundRectCallout">
            <a:avLst>
              <a:gd name="adj1" fmla="val 748"/>
              <a:gd name="adj2" fmla="val -61858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ả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uậ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ả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â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ỏ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ã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ắ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ệ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ổ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?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à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ồ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à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ay?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ầ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ả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ệ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ì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ự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ệ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773723" y="1057393"/>
            <a:ext cx="3615397" cy="1277844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3762B3-8E3F-4C90-9088-084C5087FB35}"/>
              </a:ext>
            </a:extLst>
          </p:cNvPr>
          <p:cNvSpPr/>
          <p:nvPr/>
        </p:nvSpPr>
        <p:spPr>
          <a:xfrm>
            <a:off x="1203614" y="1198325"/>
            <a:ext cx="3030762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À SỬ HỌC THÔNG THÁI</a:t>
            </a: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74945" y="95162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1129" y="1198324"/>
            <a:ext cx="6689992" cy="518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633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3131" y="476746"/>
            <a:ext cx="11190851" cy="1698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Ă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ố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ệ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ổ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õ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ấu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ấ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uyề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ố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óa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ô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hiệp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úa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ù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ợp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ớ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hí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ậu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ều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ặc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iểm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ồ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ạ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ày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nay: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ươ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ạo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m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ư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ầy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o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ịp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ế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ố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è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ă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ầu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  <a:endParaRPr lang="en-US" sz="20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06" y="2715065"/>
            <a:ext cx="6048375" cy="393550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7181" y="2715065"/>
            <a:ext cx="5073747" cy="393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6029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62708" y="516588"/>
            <a:ext cx="10916529" cy="1264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-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ư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ánh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ầy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ể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iế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ẩm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ệ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“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uâ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ình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m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ươ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”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ua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iểm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ề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ờ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ấ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ũ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ụ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  <a:endParaRPr lang="en-US" sz="2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-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ó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ê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ò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iếu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hảo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ớ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cha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ẹ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à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ự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iế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ơn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hững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gười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đã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àm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a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ạt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gạo</a:t>
            </a: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961" y="2079160"/>
            <a:ext cx="4822288" cy="43497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3858" y="2079160"/>
            <a:ext cx="6105379" cy="434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1486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B671505-9484-43F9-974B-F682B2CBCEDD}"/>
              </a:ext>
            </a:extLst>
          </p:cNvPr>
          <p:cNvSpPr txBox="1"/>
          <p:nvPr/>
        </p:nvSpPr>
        <p:spPr>
          <a:xfrm>
            <a:off x="3124200" y="143470"/>
            <a:ext cx="59436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UYỆN TẬP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29" y="923605"/>
            <a:ext cx="11924071" cy="5713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5"/>
          <p:cNvSpPr/>
          <p:nvPr/>
        </p:nvSpPr>
        <p:spPr>
          <a:xfrm rot="-5399999" flipV="1">
            <a:off x="4716370" y="2458455"/>
            <a:ext cx="518039" cy="1147355"/>
          </a:xfrm>
          <a:prstGeom prst="line">
            <a:avLst/>
          </a:prstGeom>
          <a:ln w="28575" cap="flat">
            <a:solidFill>
              <a:srgbClr val="100F0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" name="AutoShape 6"/>
          <p:cNvSpPr/>
          <p:nvPr/>
        </p:nvSpPr>
        <p:spPr>
          <a:xfrm rot="-5399999">
            <a:off x="1494090" y="2445224"/>
            <a:ext cx="473033" cy="1147356"/>
          </a:xfrm>
          <a:prstGeom prst="line">
            <a:avLst/>
          </a:prstGeom>
          <a:ln w="28575" cap="flat">
            <a:solidFill>
              <a:srgbClr val="100F0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11" name="Group 11"/>
          <p:cNvGrpSpPr/>
          <p:nvPr/>
        </p:nvGrpSpPr>
        <p:grpSpPr>
          <a:xfrm>
            <a:off x="65374" y="1410789"/>
            <a:ext cx="12030832" cy="5303519"/>
            <a:chOff x="0" y="0"/>
            <a:chExt cx="33265307" cy="15015820"/>
          </a:xfrm>
        </p:grpSpPr>
        <p:sp>
          <p:nvSpPr>
            <p:cNvPr id="12" name="Freeform 12"/>
            <p:cNvSpPr/>
            <p:nvPr/>
          </p:nvSpPr>
          <p:spPr>
            <a:xfrm>
              <a:off x="31750" y="31750"/>
              <a:ext cx="33201806" cy="14952320"/>
            </a:xfrm>
            <a:custGeom>
              <a:avLst/>
              <a:gdLst/>
              <a:ahLst/>
              <a:cxnLst/>
              <a:rect l="l" t="t" r="r" b="b"/>
              <a:pathLst>
                <a:path w="33201806" h="14952320">
                  <a:moveTo>
                    <a:pt x="33109095" y="14952320"/>
                  </a:moveTo>
                  <a:lnTo>
                    <a:pt x="92710" y="14952320"/>
                  </a:lnTo>
                  <a:cubicBezTo>
                    <a:pt x="41910" y="14952320"/>
                    <a:pt x="0" y="14910411"/>
                    <a:pt x="0" y="14859611"/>
                  </a:cubicBezTo>
                  <a:lnTo>
                    <a:pt x="0" y="92710"/>
                  </a:lnTo>
                  <a:cubicBezTo>
                    <a:pt x="0" y="41910"/>
                    <a:pt x="41910" y="0"/>
                    <a:pt x="92710" y="0"/>
                  </a:cubicBezTo>
                  <a:lnTo>
                    <a:pt x="33107827" y="0"/>
                  </a:lnTo>
                  <a:cubicBezTo>
                    <a:pt x="33158627" y="0"/>
                    <a:pt x="33200538" y="41910"/>
                    <a:pt x="33200538" y="92710"/>
                  </a:cubicBezTo>
                  <a:lnTo>
                    <a:pt x="33200538" y="14858341"/>
                  </a:lnTo>
                  <a:cubicBezTo>
                    <a:pt x="33201806" y="14910411"/>
                    <a:pt x="33159895" y="14952320"/>
                    <a:pt x="33109095" y="1495232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3"/>
            <p:cNvSpPr/>
            <p:nvPr/>
          </p:nvSpPr>
          <p:spPr>
            <a:xfrm>
              <a:off x="0" y="0"/>
              <a:ext cx="33265306" cy="15015820"/>
            </a:xfrm>
            <a:custGeom>
              <a:avLst/>
              <a:gdLst/>
              <a:ahLst/>
              <a:cxnLst/>
              <a:rect l="l" t="t" r="r" b="b"/>
              <a:pathLst>
                <a:path w="33265306" h="15015820">
                  <a:moveTo>
                    <a:pt x="33140845" y="59690"/>
                  </a:moveTo>
                  <a:cubicBezTo>
                    <a:pt x="33176406" y="59690"/>
                    <a:pt x="33205617" y="88900"/>
                    <a:pt x="33205617" y="124460"/>
                  </a:cubicBezTo>
                  <a:lnTo>
                    <a:pt x="33205617" y="14891361"/>
                  </a:lnTo>
                  <a:cubicBezTo>
                    <a:pt x="33205617" y="14926920"/>
                    <a:pt x="33176406" y="14956131"/>
                    <a:pt x="33140845" y="14956131"/>
                  </a:cubicBezTo>
                  <a:lnTo>
                    <a:pt x="124460" y="14956131"/>
                  </a:lnTo>
                  <a:cubicBezTo>
                    <a:pt x="88900" y="14956131"/>
                    <a:pt x="59690" y="14926920"/>
                    <a:pt x="59690" y="14891361"/>
                  </a:cubicBezTo>
                  <a:lnTo>
                    <a:pt x="59690" y="124460"/>
                  </a:lnTo>
                  <a:cubicBezTo>
                    <a:pt x="59690" y="88900"/>
                    <a:pt x="88900" y="59690"/>
                    <a:pt x="124460" y="59690"/>
                  </a:cubicBezTo>
                  <a:lnTo>
                    <a:pt x="33140845" y="59690"/>
                  </a:lnTo>
                  <a:moveTo>
                    <a:pt x="33140845" y="0"/>
                  </a:moveTo>
                  <a:lnTo>
                    <a:pt x="124460" y="0"/>
                  </a:lnTo>
                  <a:cubicBezTo>
                    <a:pt x="55880" y="0"/>
                    <a:pt x="0" y="55880"/>
                    <a:pt x="0" y="124460"/>
                  </a:cubicBezTo>
                  <a:lnTo>
                    <a:pt x="0" y="14891361"/>
                  </a:lnTo>
                  <a:cubicBezTo>
                    <a:pt x="0" y="14959941"/>
                    <a:pt x="55880" y="15015820"/>
                    <a:pt x="124460" y="15015820"/>
                  </a:cubicBezTo>
                  <a:lnTo>
                    <a:pt x="33140845" y="15015820"/>
                  </a:lnTo>
                  <a:cubicBezTo>
                    <a:pt x="33209427" y="15015820"/>
                    <a:pt x="33265306" y="14959941"/>
                    <a:pt x="33265306" y="14891361"/>
                  </a:cubicBezTo>
                  <a:lnTo>
                    <a:pt x="33265306" y="124460"/>
                  </a:lnTo>
                  <a:cubicBezTo>
                    <a:pt x="33265306" y="55880"/>
                    <a:pt x="33209427" y="0"/>
                    <a:pt x="33140845" y="0"/>
                  </a:cubicBezTo>
                  <a:close/>
                </a:path>
              </a:pathLst>
            </a:custGeom>
            <a:solidFill>
              <a:srgbClr val="100F0D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3315693" y="1578295"/>
            <a:ext cx="2137401" cy="640819"/>
            <a:chOff x="0" y="-318154"/>
            <a:chExt cx="2317147" cy="2664878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5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8833267" y="4320033"/>
            <a:ext cx="2647917" cy="600502"/>
            <a:chOff x="0" y="0"/>
            <a:chExt cx="2317147" cy="2346724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7" name="Freeform 17"/>
            <p:cNvSpPr/>
            <p:nvPr/>
          </p:nvSpPr>
          <p:spPr>
            <a:xfrm>
              <a:off x="0" y="0"/>
              <a:ext cx="2317147" cy="2346724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8778240" y="1578295"/>
            <a:ext cx="2523307" cy="640819"/>
            <a:chOff x="0" y="0"/>
            <a:chExt cx="2317147" cy="2346724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9" name="Freeform 19"/>
            <p:cNvSpPr/>
            <p:nvPr/>
          </p:nvSpPr>
          <p:spPr>
            <a:xfrm>
              <a:off x="0" y="0"/>
              <a:ext cx="2317147" cy="2346724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8248997" y="4995583"/>
            <a:ext cx="3733689" cy="1706237"/>
            <a:chOff x="0" y="0"/>
            <a:chExt cx="2305254" cy="753222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2305254" cy="753222"/>
            </a:xfrm>
            <a:custGeom>
              <a:avLst/>
              <a:gdLst/>
              <a:ahLst/>
              <a:cxnLst/>
              <a:rect l="l" t="t" r="r" b="b"/>
              <a:pathLst>
                <a:path w="2305254" h="753222">
                  <a:moveTo>
                    <a:pt x="2180794" y="753222"/>
                  </a:moveTo>
                  <a:lnTo>
                    <a:pt x="124460" y="753222"/>
                  </a:lnTo>
                  <a:cubicBezTo>
                    <a:pt x="55880" y="753222"/>
                    <a:pt x="0" y="697342"/>
                    <a:pt x="0" y="62876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80794" y="0"/>
                  </a:lnTo>
                  <a:cubicBezTo>
                    <a:pt x="2249374" y="0"/>
                    <a:pt x="2305254" y="55880"/>
                    <a:pt x="2305254" y="124460"/>
                  </a:cubicBezTo>
                  <a:lnTo>
                    <a:pt x="2305254" y="628762"/>
                  </a:lnTo>
                  <a:cubicBezTo>
                    <a:pt x="2305254" y="697342"/>
                    <a:pt x="2249374" y="753222"/>
                    <a:pt x="2180794" y="753222"/>
                  </a:cubicBezTo>
                  <a:close/>
                </a:path>
              </a:pathLst>
            </a:custGeom>
            <a:solidFill>
              <a:srgbClr val="FDFDFD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0" name="TextBox 30"/>
          <p:cNvSpPr txBox="1"/>
          <p:nvPr/>
        </p:nvSpPr>
        <p:spPr>
          <a:xfrm>
            <a:off x="664028" y="300491"/>
            <a:ext cx="10637519" cy="8617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spc="50" noProof="0" dirty="0">
                <a:solidFill>
                  <a:srgbClr val="313259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ĐIỀU KIỆN TỰ NHIÊN 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spc="50" noProof="0" dirty="0">
                <a:solidFill>
                  <a:srgbClr val="313259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ẪN ĐẾN SỰ HÌNH THÀNH VĂN MINH VĂN LANG  - ÂU LẠC</a:t>
            </a:r>
            <a:endParaRPr kumimoji="0" lang="en-US" sz="2800" b="0" i="0" u="none" strike="noStrike" kern="1200" cap="none" spc="50" normalizeH="0" baseline="0" noProof="0" dirty="0">
              <a:ln>
                <a:noFill/>
              </a:ln>
              <a:solidFill>
                <a:srgbClr val="313259"/>
              </a:solidFill>
              <a:effectLst/>
              <a:uLnTx/>
              <a:uFillTx/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TextBox 33"/>
          <p:cNvSpPr txBox="1"/>
          <p:nvPr/>
        </p:nvSpPr>
        <p:spPr>
          <a:xfrm>
            <a:off x="3441260" y="1666178"/>
            <a:ext cx="1802717" cy="4001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ị</a:t>
            </a:r>
            <a:r>
              <a:rPr lang="en-US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í</a:t>
            </a:r>
            <a:r>
              <a:rPr lang="en-US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ịa</a:t>
            </a:r>
            <a:r>
              <a:rPr lang="en-US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endParaRPr lang="en-US" sz="2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Box 33"/>
          <p:cNvSpPr txBox="1"/>
          <p:nvPr/>
        </p:nvSpPr>
        <p:spPr>
          <a:xfrm>
            <a:off x="9138534" y="1674403"/>
            <a:ext cx="1802717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í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ậu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TextBox 33"/>
          <p:cNvSpPr txBox="1"/>
          <p:nvPr/>
        </p:nvSpPr>
        <p:spPr>
          <a:xfrm>
            <a:off x="9191008" y="4368066"/>
            <a:ext cx="1948391" cy="4001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oáng</a:t>
            </a:r>
            <a:r>
              <a:rPr lang="en-US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ản</a:t>
            </a:r>
            <a:endParaRPr lang="en-US" sz="2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626" y="2449696"/>
            <a:ext cx="4095750" cy="4067160"/>
          </a:xfrm>
          <a:prstGeom prst="rect">
            <a:avLst/>
          </a:prstGeom>
        </p:spPr>
      </p:pic>
      <p:sp>
        <p:nvSpPr>
          <p:cNvPr id="46" name="Freeform 21"/>
          <p:cNvSpPr/>
          <p:nvPr/>
        </p:nvSpPr>
        <p:spPr>
          <a:xfrm>
            <a:off x="216690" y="4497369"/>
            <a:ext cx="1678654" cy="1846660"/>
          </a:xfrm>
          <a:custGeom>
            <a:avLst/>
            <a:gdLst/>
            <a:ahLst/>
            <a:cxnLst/>
            <a:rect l="l" t="t" r="r" b="b"/>
            <a:pathLst>
              <a:path w="2305254" h="753222">
                <a:moveTo>
                  <a:pt x="2180794" y="753222"/>
                </a:moveTo>
                <a:lnTo>
                  <a:pt x="124460" y="753222"/>
                </a:lnTo>
                <a:cubicBezTo>
                  <a:pt x="55880" y="753222"/>
                  <a:pt x="0" y="697342"/>
                  <a:pt x="0" y="62876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180794" y="0"/>
                </a:lnTo>
                <a:cubicBezTo>
                  <a:pt x="2249374" y="0"/>
                  <a:pt x="2305254" y="55880"/>
                  <a:pt x="2305254" y="124460"/>
                </a:cubicBezTo>
                <a:lnTo>
                  <a:pt x="2305254" y="628762"/>
                </a:lnTo>
                <a:cubicBezTo>
                  <a:pt x="2305254" y="697342"/>
                  <a:pt x="2249374" y="753222"/>
                  <a:pt x="2180794" y="753222"/>
                </a:cubicBezTo>
                <a:close/>
              </a:path>
            </a:pathLst>
          </a:custGeom>
          <a:solidFill>
            <a:srgbClr val="FDFDFD"/>
          </a:solidFill>
        </p:spPr>
        <p:txBody>
          <a:bodyPr/>
          <a:lstStyle/>
          <a:p>
            <a:endParaRPr lang="en-US"/>
          </a:p>
        </p:txBody>
      </p:sp>
      <p:sp>
        <p:nvSpPr>
          <p:cNvPr id="47" name="TextBox 33"/>
          <p:cNvSpPr txBox="1"/>
          <p:nvPr/>
        </p:nvSpPr>
        <p:spPr>
          <a:xfrm>
            <a:off x="170778" y="4517325"/>
            <a:ext cx="1678654" cy="184665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algn="ctr" defTabSz="609630">
              <a:spcBef>
                <a:spcPct val="0"/>
              </a:spcBef>
              <a:defRPr/>
            </a:pP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ằm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ê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ực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ồn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ã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ả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ắc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ắc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n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ày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ay)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100F0D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90204" y="2494039"/>
            <a:ext cx="16516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hía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ắc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giáp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rung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oa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2928471" y="4111201"/>
            <a:ext cx="13327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hía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đông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giáp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iển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endParaRPr lang="en-US" sz="2000" dirty="0"/>
          </a:p>
        </p:txBody>
      </p:sp>
      <p:sp>
        <p:nvSpPr>
          <p:cNvPr id="51" name="Freeform 21"/>
          <p:cNvSpPr/>
          <p:nvPr/>
        </p:nvSpPr>
        <p:spPr>
          <a:xfrm>
            <a:off x="2311854" y="5000241"/>
            <a:ext cx="1966522" cy="1463035"/>
          </a:xfrm>
          <a:custGeom>
            <a:avLst/>
            <a:gdLst/>
            <a:ahLst/>
            <a:cxnLst/>
            <a:rect l="l" t="t" r="r" b="b"/>
            <a:pathLst>
              <a:path w="2305254" h="753222">
                <a:moveTo>
                  <a:pt x="2180794" y="753222"/>
                </a:moveTo>
                <a:lnTo>
                  <a:pt x="124460" y="753222"/>
                </a:lnTo>
                <a:cubicBezTo>
                  <a:pt x="55880" y="753222"/>
                  <a:pt x="0" y="697342"/>
                  <a:pt x="0" y="62876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180794" y="0"/>
                </a:lnTo>
                <a:cubicBezTo>
                  <a:pt x="2249374" y="0"/>
                  <a:pt x="2305254" y="55880"/>
                  <a:pt x="2305254" y="124460"/>
                </a:cubicBezTo>
                <a:lnTo>
                  <a:pt x="2305254" y="628762"/>
                </a:lnTo>
                <a:cubicBezTo>
                  <a:pt x="2305254" y="697342"/>
                  <a:pt x="2249374" y="753222"/>
                  <a:pt x="2180794" y="753222"/>
                </a:cubicBezTo>
                <a:close/>
              </a:path>
            </a:pathLst>
          </a:custGeom>
          <a:solidFill>
            <a:srgbClr val="FDFDFD"/>
          </a:solidFill>
        </p:spPr>
        <p:txBody>
          <a:bodyPr/>
          <a:lstStyle/>
          <a:p>
            <a:endParaRPr lang="en-US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2620" y="2467639"/>
            <a:ext cx="3822424" cy="4049217"/>
          </a:xfrm>
          <a:prstGeom prst="rect">
            <a:avLst/>
          </a:prstGeom>
        </p:spPr>
      </p:pic>
      <p:sp>
        <p:nvSpPr>
          <p:cNvPr id="54" name="Freeform 21"/>
          <p:cNvSpPr/>
          <p:nvPr/>
        </p:nvSpPr>
        <p:spPr>
          <a:xfrm>
            <a:off x="4339204" y="2463224"/>
            <a:ext cx="3780649" cy="1213074"/>
          </a:xfrm>
          <a:custGeom>
            <a:avLst/>
            <a:gdLst/>
            <a:ahLst/>
            <a:cxnLst/>
            <a:rect l="l" t="t" r="r" b="b"/>
            <a:pathLst>
              <a:path w="2305254" h="753222">
                <a:moveTo>
                  <a:pt x="2180794" y="753222"/>
                </a:moveTo>
                <a:lnTo>
                  <a:pt x="124460" y="753222"/>
                </a:lnTo>
                <a:cubicBezTo>
                  <a:pt x="55880" y="753222"/>
                  <a:pt x="0" y="697342"/>
                  <a:pt x="0" y="62876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180794" y="0"/>
                </a:lnTo>
                <a:cubicBezTo>
                  <a:pt x="2249374" y="0"/>
                  <a:pt x="2305254" y="55880"/>
                  <a:pt x="2305254" y="124460"/>
                </a:cubicBezTo>
                <a:lnTo>
                  <a:pt x="2305254" y="628762"/>
                </a:lnTo>
                <a:cubicBezTo>
                  <a:pt x="2305254" y="697342"/>
                  <a:pt x="2249374" y="753222"/>
                  <a:pt x="2180794" y="753222"/>
                </a:cubicBezTo>
                <a:close/>
              </a:path>
            </a:pathLst>
          </a:custGeom>
          <a:solidFill>
            <a:srgbClr val="FDFDFD"/>
          </a:solidFill>
        </p:spPr>
        <p:txBody>
          <a:bodyPr/>
          <a:lstStyle/>
          <a:p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4364946" y="2506337"/>
            <a:ext cx="389349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ô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ồ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ô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ã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ô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ả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ồi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đắp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hù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a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u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ấp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ước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ưới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ạo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ên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đồ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ằng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àu</a:t>
            </a:r>
            <a:r>
              <a:rPr lang="en-US" sz="22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ỡ</a:t>
            </a:r>
            <a:endParaRPr lang="en-US" sz="2200" dirty="0"/>
          </a:p>
        </p:txBody>
      </p:sp>
      <p:sp>
        <p:nvSpPr>
          <p:cNvPr id="57" name="Freeform 21"/>
          <p:cNvSpPr/>
          <p:nvPr/>
        </p:nvSpPr>
        <p:spPr>
          <a:xfrm>
            <a:off x="4324636" y="5600639"/>
            <a:ext cx="3795217" cy="856696"/>
          </a:xfrm>
          <a:custGeom>
            <a:avLst/>
            <a:gdLst/>
            <a:ahLst/>
            <a:cxnLst/>
            <a:rect l="l" t="t" r="r" b="b"/>
            <a:pathLst>
              <a:path w="2305254" h="753222">
                <a:moveTo>
                  <a:pt x="2180794" y="753222"/>
                </a:moveTo>
                <a:lnTo>
                  <a:pt x="124460" y="753222"/>
                </a:lnTo>
                <a:cubicBezTo>
                  <a:pt x="55880" y="753222"/>
                  <a:pt x="0" y="697342"/>
                  <a:pt x="0" y="62876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180794" y="0"/>
                </a:lnTo>
                <a:cubicBezTo>
                  <a:pt x="2249374" y="0"/>
                  <a:pt x="2305254" y="55880"/>
                  <a:pt x="2305254" y="124460"/>
                </a:cubicBezTo>
                <a:lnTo>
                  <a:pt x="2305254" y="628762"/>
                </a:lnTo>
                <a:cubicBezTo>
                  <a:pt x="2305254" y="697342"/>
                  <a:pt x="2249374" y="753222"/>
                  <a:pt x="2180794" y="753222"/>
                </a:cubicBezTo>
                <a:close/>
              </a:path>
            </a:pathLst>
          </a:custGeom>
          <a:solidFill>
            <a:srgbClr val="FDFDFD"/>
          </a:solidFill>
        </p:spPr>
        <p:txBody>
          <a:bodyPr/>
          <a:lstStyle/>
          <a:p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4364946" y="5600639"/>
            <a:ext cx="3822425" cy="842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Þ"/>
            </a:pP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…………………………..</a:t>
            </a:r>
          </a:p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200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...............................................</a:t>
            </a:r>
          </a:p>
        </p:txBody>
      </p:sp>
      <p:grpSp>
        <p:nvGrpSpPr>
          <p:cNvPr id="60" name="Group 20"/>
          <p:cNvGrpSpPr/>
          <p:nvPr/>
        </p:nvGrpSpPr>
        <p:grpSpPr>
          <a:xfrm>
            <a:off x="8240494" y="2409354"/>
            <a:ext cx="3768778" cy="1807051"/>
            <a:chOff x="0" y="0"/>
            <a:chExt cx="2305254" cy="753222"/>
          </a:xfrm>
        </p:grpSpPr>
        <p:sp>
          <p:nvSpPr>
            <p:cNvPr id="61" name="Freeform 21"/>
            <p:cNvSpPr/>
            <p:nvPr/>
          </p:nvSpPr>
          <p:spPr>
            <a:xfrm>
              <a:off x="0" y="0"/>
              <a:ext cx="2305254" cy="753222"/>
            </a:xfrm>
            <a:custGeom>
              <a:avLst/>
              <a:gdLst/>
              <a:ahLst/>
              <a:cxnLst/>
              <a:rect l="l" t="t" r="r" b="b"/>
              <a:pathLst>
                <a:path w="2305254" h="753222">
                  <a:moveTo>
                    <a:pt x="2180794" y="753222"/>
                  </a:moveTo>
                  <a:lnTo>
                    <a:pt x="124460" y="753222"/>
                  </a:lnTo>
                  <a:cubicBezTo>
                    <a:pt x="55880" y="753222"/>
                    <a:pt x="0" y="697342"/>
                    <a:pt x="0" y="62876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80794" y="0"/>
                  </a:lnTo>
                  <a:cubicBezTo>
                    <a:pt x="2249374" y="0"/>
                    <a:pt x="2305254" y="55880"/>
                    <a:pt x="2305254" y="124460"/>
                  </a:cubicBezTo>
                  <a:lnTo>
                    <a:pt x="2305254" y="628762"/>
                  </a:lnTo>
                  <a:cubicBezTo>
                    <a:pt x="2305254" y="697342"/>
                    <a:pt x="2249374" y="753222"/>
                    <a:pt x="2180794" y="753222"/>
                  </a:cubicBezTo>
                  <a:close/>
                </a:path>
              </a:pathLst>
            </a:custGeom>
            <a:solidFill>
              <a:srgbClr val="FDFDFD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5" name="Rectangle 54"/>
          <p:cNvSpPr/>
          <p:nvPr/>
        </p:nvSpPr>
        <p:spPr>
          <a:xfrm>
            <a:off x="8445025" y="5657104"/>
            <a:ext cx="3485054" cy="7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&gt;………………………………………….....................</a:t>
            </a:r>
            <a:endParaRPr lang="en-US" sz="22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2" name="TextBox 33"/>
          <p:cNvSpPr txBox="1"/>
          <p:nvPr/>
        </p:nvSpPr>
        <p:spPr>
          <a:xfrm>
            <a:off x="9046007" y="5141952"/>
            <a:ext cx="1948391" cy="369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ú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8410597" y="2451757"/>
            <a:ext cx="3523645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ệt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ới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ẩm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ó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ùa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ệt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ộ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o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ượng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ưa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ều</a:t>
            </a:r>
            <a:r>
              <a:rPr lang="en-US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300" dirty="0"/>
          </a:p>
        </p:txBody>
      </p:sp>
      <p:sp>
        <p:nvSpPr>
          <p:cNvPr id="38" name="Rectangle 37"/>
          <p:cNvSpPr/>
          <p:nvPr/>
        </p:nvSpPr>
        <p:spPr>
          <a:xfrm>
            <a:off x="2516097" y="5107861"/>
            <a:ext cx="1850326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=&gt;…………………………………...</a:t>
            </a:r>
            <a:endParaRPr lang="en-US" sz="2300" dirty="0">
              <a:solidFill>
                <a:srgbClr val="C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308171" y="4949230"/>
            <a:ext cx="1966522" cy="150810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=&gt;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Dễ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iếp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xúc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giao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lưu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ới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ác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nền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văn</a:t>
            </a:r>
            <a:r>
              <a:rPr lang="en-US" sz="23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minh </a:t>
            </a:r>
            <a:r>
              <a:rPr lang="en-US" sz="23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khác</a:t>
            </a:r>
            <a:endParaRPr lang="en-US" sz="2300" dirty="0">
              <a:solidFill>
                <a:srgbClr val="C0000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313153" y="5632739"/>
            <a:ext cx="3822425" cy="81689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&gt;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ịnh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o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ác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xóm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à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át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iển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ô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hiệp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úa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endParaRPr lang="en-US" sz="22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336519" y="3353221"/>
            <a:ext cx="3576728" cy="856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&gt;………………………………………………………</a:t>
            </a:r>
            <a:endParaRPr lang="en-US" sz="20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368862" y="3244807"/>
            <a:ext cx="3576728" cy="88267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&gt;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uận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ợi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ể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ồng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ọt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ăn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uôi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a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ạng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ức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ăn</a:t>
            </a:r>
            <a:r>
              <a:rPr lang="en-US" sz="24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0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8346411" y="5522651"/>
            <a:ext cx="3485054" cy="117916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&gt;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uận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ợi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ể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ế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ác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ô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ụ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ao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ộ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hề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úc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ồ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ồ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ùng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inh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oạt</a:t>
            </a:r>
            <a:r>
              <a:rPr lang="en-US" sz="2200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2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961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4" grpId="0" animBg="1"/>
      <p:bldP spid="48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B9E95EB8-283F-4EA0-8AFB-5AF3C8F55A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869787"/>
              </p:ext>
            </p:extLst>
          </p:nvPr>
        </p:nvGraphicFramePr>
        <p:xfrm>
          <a:off x="252920" y="131143"/>
          <a:ext cx="11780196" cy="66236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2417">
                  <a:extLst>
                    <a:ext uri="{9D8B030D-6E8A-4147-A177-3AD203B41FA5}">
                      <a16:colId xmlns:a16="http://schemas.microsoft.com/office/drawing/2014/main" val="3644085350"/>
                    </a:ext>
                  </a:extLst>
                </a:gridCol>
                <a:gridCol w="4994297">
                  <a:extLst>
                    <a:ext uri="{9D8B030D-6E8A-4147-A177-3AD203B41FA5}">
                      <a16:colId xmlns:a16="http://schemas.microsoft.com/office/drawing/2014/main" val="1332167776"/>
                    </a:ext>
                  </a:extLst>
                </a:gridCol>
                <a:gridCol w="5233482">
                  <a:extLst>
                    <a:ext uri="{9D8B030D-6E8A-4147-A177-3AD203B41FA5}">
                      <a16:colId xmlns:a16="http://schemas.microsoft.com/office/drawing/2014/main" val="679175152"/>
                    </a:ext>
                  </a:extLst>
                </a:gridCol>
              </a:tblGrid>
              <a:tr h="615027"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êu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í</a:t>
                      </a:r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ước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ăn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La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ước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Âu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ạc</a:t>
                      </a:r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451473"/>
                  </a:ext>
                </a:extLst>
              </a:tr>
              <a:tr h="1114736"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ời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ian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ra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đời</a:t>
                      </a:r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0948878"/>
                  </a:ext>
                </a:extLst>
              </a:tr>
              <a:tr h="1114736"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gười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đứng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đầu</a:t>
                      </a:r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465852"/>
                  </a:ext>
                </a:extLst>
              </a:tr>
              <a:tr h="615027"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nh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đô</a:t>
                      </a:r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431224"/>
                  </a:ext>
                </a:extLst>
              </a:tr>
              <a:tr h="1049939">
                <a:tc>
                  <a:txBody>
                    <a:bodyPr/>
                    <a:lstStyle/>
                    <a:p>
                      <a:pPr algn="ctr"/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ạm vi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416801"/>
                  </a:ext>
                </a:extLst>
              </a:tr>
              <a:tr h="2114154"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ổ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ức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hà</a:t>
                      </a:r>
                      <a:r>
                        <a:rPr lang="en-US" sz="2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ước</a:t>
                      </a:r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2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99374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A18EDD1-AE16-43C2-B9BC-F6946EF27633}"/>
              </a:ext>
            </a:extLst>
          </p:cNvPr>
          <p:cNvSpPr/>
          <p:nvPr/>
        </p:nvSpPr>
        <p:spPr>
          <a:xfrm>
            <a:off x="2177926" y="954201"/>
            <a:ext cx="4374225" cy="73930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ế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ỉ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II TC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FCC6C8-2372-4BFB-9335-93CAA2DE6660}"/>
              </a:ext>
            </a:extLst>
          </p:cNvPr>
          <p:cNvSpPr/>
          <p:nvPr/>
        </p:nvSpPr>
        <p:spPr>
          <a:xfrm>
            <a:off x="7360621" y="941187"/>
            <a:ext cx="4263022" cy="73930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oả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m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8 TC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91610E-0646-41D7-B5D2-57AFA22C1937}"/>
              </a:ext>
            </a:extLst>
          </p:cNvPr>
          <p:cNvSpPr/>
          <p:nvPr/>
        </p:nvSpPr>
        <p:spPr>
          <a:xfrm>
            <a:off x="2177927" y="2059740"/>
            <a:ext cx="4374225" cy="73930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ù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ương</a:t>
            </a: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A1B3392-F455-45B7-B98A-4B7F0EE14C45}"/>
              </a:ext>
            </a:extLst>
          </p:cNvPr>
          <p:cNvSpPr/>
          <p:nvPr/>
        </p:nvSpPr>
        <p:spPr>
          <a:xfrm>
            <a:off x="7360621" y="1971774"/>
            <a:ext cx="4263022" cy="73930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ươ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ương</a:t>
            </a: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C9E0C9-4AD4-4C9B-8691-0DB2B9799935}"/>
              </a:ext>
            </a:extLst>
          </p:cNvPr>
          <p:cNvSpPr/>
          <p:nvPr/>
        </p:nvSpPr>
        <p:spPr>
          <a:xfrm>
            <a:off x="2177927" y="3022866"/>
            <a:ext cx="4374225" cy="46315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o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âu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ú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ọ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BB7525-B4FA-46B6-BB92-829FDAA45FA1}"/>
              </a:ext>
            </a:extLst>
          </p:cNvPr>
          <p:cNvSpPr/>
          <p:nvPr/>
        </p:nvSpPr>
        <p:spPr>
          <a:xfrm>
            <a:off x="7360621" y="3057279"/>
            <a:ext cx="4263022" cy="463159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o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ê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ổ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oa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0244FEF-9401-489F-A40F-BF0AACDFCA5A}"/>
              </a:ext>
            </a:extLst>
          </p:cNvPr>
          <p:cNvSpPr/>
          <p:nvPr/>
        </p:nvSpPr>
        <p:spPr>
          <a:xfrm>
            <a:off x="2177928" y="3741818"/>
            <a:ext cx="4374225" cy="73930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ực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ò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ở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ắc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ắc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0E209D-1BC7-44F1-A6AD-F9ACB00A7271}"/>
              </a:ext>
            </a:extLst>
          </p:cNvPr>
          <p:cNvSpPr/>
          <p:nvPr/>
        </p:nvSpPr>
        <p:spPr>
          <a:xfrm>
            <a:off x="7360621" y="3856807"/>
            <a:ext cx="4263022" cy="463160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ãnh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ổ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ở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ộng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ơn</a:t>
            </a: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AA0CD8-EDB2-4FFB-B0F7-9A46635FDE75}"/>
              </a:ext>
            </a:extLst>
          </p:cNvPr>
          <p:cNvSpPr/>
          <p:nvPr/>
        </p:nvSpPr>
        <p:spPr>
          <a:xfrm>
            <a:off x="2177929" y="4992705"/>
            <a:ext cx="4374224" cy="530904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ơ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ai</a:t>
            </a: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AF206B6-A211-40E6-A21D-200F455A0395}"/>
              </a:ext>
            </a:extLst>
          </p:cNvPr>
          <p:cNvSpPr/>
          <p:nvPr/>
        </p:nvSpPr>
        <p:spPr>
          <a:xfrm>
            <a:off x="7360621" y="4992705"/>
            <a:ext cx="4263022" cy="1470772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ua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yề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ế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ơ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â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i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ạnh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ũ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í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ốt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ổ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oa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ên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ố</a:t>
            </a: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Pencil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A98FCD2-FD1C-41BC-B1AA-17216D5DC6EA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1293813" y="360021"/>
            <a:ext cx="787768" cy="788619"/>
          </a:xfrm>
          <a:custGeom>
            <a:avLst/>
            <a:gdLst>
              <a:gd name="T0" fmla="*/ 169 w 200"/>
              <a:gd name="T1" fmla="*/ 0 h 200"/>
              <a:gd name="T2" fmla="*/ 200 w 200"/>
              <a:gd name="T3" fmla="*/ 31 h 200"/>
              <a:gd name="T4" fmla="*/ 194 w 200"/>
              <a:gd name="T5" fmla="*/ 50 h 200"/>
              <a:gd name="T6" fmla="*/ 181 w 200"/>
              <a:gd name="T7" fmla="*/ 63 h 200"/>
              <a:gd name="T8" fmla="*/ 138 w 200"/>
              <a:gd name="T9" fmla="*/ 19 h 200"/>
              <a:gd name="T10" fmla="*/ 150 w 200"/>
              <a:gd name="T11" fmla="*/ 6 h 200"/>
              <a:gd name="T12" fmla="*/ 169 w 200"/>
              <a:gd name="T13" fmla="*/ 0 h 200"/>
              <a:gd name="T14" fmla="*/ 13 w 200"/>
              <a:gd name="T15" fmla="*/ 144 h 200"/>
              <a:gd name="T16" fmla="*/ 0 w 200"/>
              <a:gd name="T17" fmla="*/ 200 h 200"/>
              <a:gd name="T18" fmla="*/ 56 w 200"/>
              <a:gd name="T19" fmla="*/ 188 h 200"/>
              <a:gd name="T20" fmla="*/ 172 w 200"/>
              <a:gd name="T21" fmla="*/ 72 h 200"/>
              <a:gd name="T22" fmla="*/ 128 w 200"/>
              <a:gd name="T23" fmla="*/ 28 h 200"/>
              <a:gd name="T24" fmla="*/ 13 w 200"/>
              <a:gd name="T25" fmla="*/ 144 h 200"/>
              <a:gd name="T26" fmla="*/ 140 w 200"/>
              <a:gd name="T27" fmla="*/ 71 h 200"/>
              <a:gd name="T28" fmla="*/ 52 w 200"/>
              <a:gd name="T29" fmla="*/ 159 h 200"/>
              <a:gd name="T30" fmla="*/ 41 w 200"/>
              <a:gd name="T31" fmla="*/ 148 h 200"/>
              <a:gd name="T32" fmla="*/ 129 w 200"/>
              <a:gd name="T33" fmla="*/ 60 h 200"/>
              <a:gd name="T34" fmla="*/ 140 w 200"/>
              <a:gd name="T35" fmla="*/ 71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0" h="200">
                <a:moveTo>
                  <a:pt x="169" y="0"/>
                </a:moveTo>
                <a:cubicBezTo>
                  <a:pt x="186" y="0"/>
                  <a:pt x="200" y="14"/>
                  <a:pt x="200" y="31"/>
                </a:cubicBezTo>
                <a:cubicBezTo>
                  <a:pt x="200" y="38"/>
                  <a:pt x="198" y="45"/>
                  <a:pt x="194" y="50"/>
                </a:cubicBezTo>
                <a:lnTo>
                  <a:pt x="181" y="63"/>
                </a:lnTo>
                <a:lnTo>
                  <a:pt x="138" y="19"/>
                </a:lnTo>
                <a:lnTo>
                  <a:pt x="150" y="6"/>
                </a:lnTo>
                <a:cubicBezTo>
                  <a:pt x="155" y="2"/>
                  <a:pt x="162" y="0"/>
                  <a:pt x="169" y="0"/>
                </a:cubicBezTo>
                <a:close/>
                <a:moveTo>
                  <a:pt x="13" y="144"/>
                </a:moveTo>
                <a:lnTo>
                  <a:pt x="0" y="200"/>
                </a:lnTo>
                <a:lnTo>
                  <a:pt x="56" y="188"/>
                </a:lnTo>
                <a:lnTo>
                  <a:pt x="172" y="72"/>
                </a:lnTo>
                <a:lnTo>
                  <a:pt x="128" y="28"/>
                </a:lnTo>
                <a:lnTo>
                  <a:pt x="13" y="144"/>
                </a:lnTo>
                <a:close/>
                <a:moveTo>
                  <a:pt x="140" y="71"/>
                </a:moveTo>
                <a:lnTo>
                  <a:pt x="52" y="159"/>
                </a:lnTo>
                <a:lnTo>
                  <a:pt x="41" y="148"/>
                </a:lnTo>
                <a:lnTo>
                  <a:pt x="129" y="60"/>
                </a:lnTo>
                <a:lnTo>
                  <a:pt x="140" y="71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413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B671505-9484-43F9-974B-F682B2CBCEDD}"/>
              </a:ext>
            </a:extLst>
          </p:cNvPr>
          <p:cNvSpPr txBox="1"/>
          <p:nvPr/>
        </p:nvSpPr>
        <p:spPr>
          <a:xfrm>
            <a:off x="3124200" y="143470"/>
            <a:ext cx="59436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kumimoji="0" lang="en-US" sz="3600" b="0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DỤNG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13427" y="1897145"/>
            <a:ext cx="7868529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S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ực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ện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1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ong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ai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iệm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ụ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au</a:t>
            </a:r>
            <a:r>
              <a:rPr lang="en-US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ưu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ầm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ột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ố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ình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ảnh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ản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ánh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ành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ựu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minh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 –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endParaRPr lang="en-US" sz="28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ưu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ầm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ư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ệu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ể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ới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iệu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ới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ầy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ô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ạn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è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ề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ễ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ội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ền</a:t>
            </a:r>
            <a:r>
              <a:rPr lang="en-US" sz="28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ùng</a:t>
            </a:r>
            <a:endParaRPr lang="en-US" sz="2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0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183481" y="202674"/>
            <a:ext cx="1063840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kumimoji="0" lang="en-US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lang="fr-FR" altLang="en-US" sz="2600" b="1" noProof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ở</a:t>
            </a:r>
            <a:r>
              <a:rPr lang="fr-FR" altLang="en-US" sz="2600" b="1" noProof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fr-FR" altLang="en-US" sz="2600" b="1" noProof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altLang="en-US" sz="2600" b="1" noProof="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endParaRPr kumimoji="0" lang="en-US" altLang="en-US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421481" y="832015"/>
            <a:ext cx="1063840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lang="en-US" altLang="en-US" sz="2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.</a:t>
            </a:r>
            <a:r>
              <a:rPr kumimoji="0" lang="en-US" altLang="en-US" sz="2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260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kumimoji="0" lang="en-US" altLang="en-US" sz="260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260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ở</a:t>
            </a:r>
            <a:r>
              <a:rPr kumimoji="0" lang="en-US" altLang="en-US" sz="260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260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xã</a:t>
            </a:r>
            <a:r>
              <a:rPr kumimoji="0" lang="en-US" altLang="en-US" sz="260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260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endParaRPr kumimoji="0" lang="en-US" altLang="en-US" sz="26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102048" y="5725195"/>
            <a:ext cx="216286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lang="en-US" altLang="en-US" sz="24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ông</a:t>
            </a:r>
            <a:r>
              <a:rPr lang="en-US" altLang="en-US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ồng</a:t>
            </a:r>
            <a:endParaRPr kumimoji="0" lang="en-US" altLang="en-US" sz="24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822" y="4827856"/>
            <a:ext cx="3310415" cy="20301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197051" y="1391325"/>
            <a:ext cx="4583955" cy="3371136"/>
          </a:xfrm>
          <a:prstGeom prst="wedgeRoundRectCallout">
            <a:avLst>
              <a:gd name="adj1" fmla="val 4865"/>
              <a:gd name="adj2" fmla="val 56199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ẢO LUẬN CẶP ĐÔI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ự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ả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a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ĐIỂM HẸN VĂN HÓA VTV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ở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ã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ẫ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inh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ng –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ẻ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5435" y="888239"/>
            <a:ext cx="3546894" cy="190874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76757" y="842657"/>
            <a:ext cx="3218017" cy="195433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7156" y="2875330"/>
            <a:ext cx="3362750" cy="183774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18330" y="2853212"/>
            <a:ext cx="3334869" cy="1859863"/>
          </a:xfrm>
          <a:prstGeom prst="rect">
            <a:avLst/>
          </a:prstGeom>
        </p:spPr>
      </p:pic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615402"/>
              </p:ext>
            </p:extLst>
          </p:nvPr>
        </p:nvGraphicFramePr>
        <p:xfrm>
          <a:off x="5232980" y="4827856"/>
          <a:ext cx="6853851" cy="1828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853851">
                  <a:extLst>
                    <a:ext uri="{9D8B030D-6E8A-4147-A177-3AD203B41FA5}">
                      <a16:colId xmlns:a16="http://schemas.microsoft.com/office/drawing/2014/main" val="36962308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ÔNG NGHIỆP DÙNG CÀY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QUÝ TỘC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ỦA CẢI DƯ THỪA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ÔNG DÂN TỰ DO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ÂN HÓA XÃ HỘI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Ô TÌ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O ĐỔI SẢN PHẨM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C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ỐNG GIẶC NGOẠI XÂM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ĐẮP ĐÊ, TRỊ THỦY;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Ư DÂN VIỆT CỔ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89433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2979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50280416"/>
              </p:ext>
            </p:extLst>
          </p:nvPr>
        </p:nvGraphicFramePr>
        <p:xfrm>
          <a:off x="5851732" y="1486532"/>
          <a:ext cx="6600244" cy="5132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0"/>
          <p:cNvSpPr txBox="1"/>
          <p:nvPr/>
        </p:nvSpPr>
        <p:spPr>
          <a:xfrm>
            <a:off x="664028" y="300491"/>
            <a:ext cx="10637519" cy="8617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spc="50" noProof="0" dirty="0">
                <a:solidFill>
                  <a:srgbClr val="313259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CƠ SỞ XÃ HỘI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spc="50" noProof="0" dirty="0">
                <a:solidFill>
                  <a:srgbClr val="313259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ẪN ĐẾN SỰ HÌNH THÀNH VĂN MINH VĂN LANG  - ÂU LẠC</a:t>
            </a:r>
            <a:endParaRPr kumimoji="0" lang="en-US" sz="2800" b="0" i="0" u="none" strike="noStrike" kern="1200" cap="none" spc="50" normalizeH="0" baseline="0" noProof="0" dirty="0">
              <a:ln>
                <a:noFill/>
              </a:ln>
              <a:solidFill>
                <a:srgbClr val="313259"/>
              </a:solidFill>
              <a:effectLst/>
              <a:uLnTx/>
              <a:uFillTx/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9" name="Group 14"/>
          <p:cNvGrpSpPr/>
          <p:nvPr/>
        </p:nvGrpSpPr>
        <p:grpSpPr>
          <a:xfrm>
            <a:off x="464917" y="1696265"/>
            <a:ext cx="6231718" cy="1275535"/>
            <a:chOff x="0" y="-318154"/>
            <a:chExt cx="2317147" cy="2664878"/>
          </a:xfrm>
          <a:solidFill>
            <a:schemeClr val="accent6">
              <a:lumMod val="50000"/>
            </a:schemeClr>
          </a:solidFill>
        </p:grpSpPr>
        <p:sp>
          <p:nvSpPr>
            <p:cNvPr id="10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1" name="Group 20"/>
          <p:cNvGrpSpPr/>
          <p:nvPr/>
        </p:nvGrpSpPr>
        <p:grpSpPr>
          <a:xfrm>
            <a:off x="618674" y="1785166"/>
            <a:ext cx="5924204" cy="1052164"/>
            <a:chOff x="0" y="0"/>
            <a:chExt cx="2305254" cy="604763"/>
          </a:xfrm>
          <a:solidFill>
            <a:schemeClr val="bg1"/>
          </a:solidFill>
        </p:grpSpPr>
        <p:sp>
          <p:nvSpPr>
            <p:cNvPr id="12" name="Freeform 21"/>
            <p:cNvSpPr/>
            <p:nvPr/>
          </p:nvSpPr>
          <p:spPr>
            <a:xfrm>
              <a:off x="0" y="0"/>
              <a:ext cx="2305254" cy="604763"/>
            </a:xfrm>
            <a:custGeom>
              <a:avLst/>
              <a:gdLst/>
              <a:ahLst/>
              <a:cxnLst/>
              <a:rect l="l" t="t" r="r" b="b"/>
              <a:pathLst>
                <a:path w="2305254" h="753222">
                  <a:moveTo>
                    <a:pt x="2180794" y="753222"/>
                  </a:moveTo>
                  <a:lnTo>
                    <a:pt x="124460" y="753222"/>
                  </a:lnTo>
                  <a:cubicBezTo>
                    <a:pt x="55880" y="753222"/>
                    <a:pt x="0" y="697342"/>
                    <a:pt x="0" y="62876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80794" y="0"/>
                  </a:lnTo>
                  <a:cubicBezTo>
                    <a:pt x="2249374" y="0"/>
                    <a:pt x="2305254" y="55880"/>
                    <a:pt x="2305254" y="124460"/>
                  </a:cubicBezTo>
                  <a:lnTo>
                    <a:pt x="2305254" y="628762"/>
                  </a:lnTo>
                  <a:cubicBezTo>
                    <a:pt x="2305254" y="697342"/>
                    <a:pt x="2249374" y="753222"/>
                    <a:pt x="2180794" y="753222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3" name="Rectangle 12"/>
          <p:cNvSpPr/>
          <p:nvPr/>
        </p:nvSpPr>
        <p:spPr>
          <a:xfrm>
            <a:off x="757315" y="2000114"/>
            <a:ext cx="46826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-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Xuấ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iệ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sự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hâ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óa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xã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hộ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endParaRPr lang="en-US" sz="2800" dirty="0"/>
          </a:p>
        </p:txBody>
      </p:sp>
      <p:grpSp>
        <p:nvGrpSpPr>
          <p:cNvPr id="14" name="Group 14"/>
          <p:cNvGrpSpPr/>
          <p:nvPr/>
        </p:nvGrpSpPr>
        <p:grpSpPr>
          <a:xfrm>
            <a:off x="464917" y="3217925"/>
            <a:ext cx="6231718" cy="1738220"/>
            <a:chOff x="0" y="-318154"/>
            <a:chExt cx="2317147" cy="2664878"/>
          </a:xfrm>
          <a:solidFill>
            <a:schemeClr val="accent6">
              <a:lumMod val="50000"/>
            </a:schemeClr>
          </a:solidFill>
        </p:grpSpPr>
        <p:sp>
          <p:nvSpPr>
            <p:cNvPr id="15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" name="Group 14"/>
          <p:cNvGrpSpPr/>
          <p:nvPr/>
        </p:nvGrpSpPr>
        <p:grpSpPr>
          <a:xfrm>
            <a:off x="464917" y="5113142"/>
            <a:ext cx="6231718" cy="1472135"/>
            <a:chOff x="0" y="-318154"/>
            <a:chExt cx="2317147" cy="2664878"/>
          </a:xfrm>
          <a:solidFill>
            <a:schemeClr val="accent6">
              <a:lumMod val="50000"/>
            </a:schemeClr>
          </a:solidFill>
        </p:grpSpPr>
        <p:sp>
          <p:nvSpPr>
            <p:cNvPr id="17" name="Freeform 15"/>
            <p:cNvSpPr/>
            <p:nvPr/>
          </p:nvSpPr>
          <p:spPr>
            <a:xfrm>
              <a:off x="0" y="-318154"/>
              <a:ext cx="2317147" cy="2664878"/>
            </a:xfrm>
            <a:custGeom>
              <a:avLst/>
              <a:gdLst/>
              <a:ahLst/>
              <a:cxnLst/>
              <a:rect l="l" t="t" r="r" b="b"/>
              <a:pathLst>
                <a:path w="2317147" h="2346724">
                  <a:moveTo>
                    <a:pt x="2192687" y="2346723"/>
                  </a:moveTo>
                  <a:lnTo>
                    <a:pt x="124460" y="2346723"/>
                  </a:lnTo>
                  <a:cubicBezTo>
                    <a:pt x="55880" y="2346723"/>
                    <a:pt x="0" y="2290844"/>
                    <a:pt x="0" y="222226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192687" y="0"/>
                  </a:lnTo>
                  <a:cubicBezTo>
                    <a:pt x="2261267" y="0"/>
                    <a:pt x="2317147" y="55880"/>
                    <a:pt x="2317147" y="124460"/>
                  </a:cubicBezTo>
                  <a:lnTo>
                    <a:pt x="2317147" y="2222264"/>
                  </a:lnTo>
                  <a:cubicBezTo>
                    <a:pt x="2317147" y="2290844"/>
                    <a:pt x="2261267" y="2346724"/>
                    <a:pt x="2192687" y="234672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8" name="Freeform 21"/>
          <p:cNvSpPr/>
          <p:nvPr/>
        </p:nvSpPr>
        <p:spPr>
          <a:xfrm>
            <a:off x="602008" y="3337017"/>
            <a:ext cx="5924204" cy="1473146"/>
          </a:xfrm>
          <a:custGeom>
            <a:avLst/>
            <a:gdLst/>
            <a:ahLst/>
            <a:cxnLst/>
            <a:rect l="l" t="t" r="r" b="b"/>
            <a:pathLst>
              <a:path w="2305254" h="753222">
                <a:moveTo>
                  <a:pt x="2180794" y="753222"/>
                </a:moveTo>
                <a:lnTo>
                  <a:pt x="124460" y="753222"/>
                </a:lnTo>
                <a:cubicBezTo>
                  <a:pt x="55880" y="753222"/>
                  <a:pt x="0" y="697342"/>
                  <a:pt x="0" y="62876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180794" y="0"/>
                </a:lnTo>
                <a:cubicBezTo>
                  <a:pt x="2249374" y="0"/>
                  <a:pt x="2305254" y="55880"/>
                  <a:pt x="2305254" y="124460"/>
                </a:cubicBezTo>
                <a:lnTo>
                  <a:pt x="2305254" y="628762"/>
                </a:lnTo>
                <a:cubicBezTo>
                  <a:pt x="2305254" y="697342"/>
                  <a:pt x="2249374" y="753222"/>
                  <a:pt x="2180794" y="753222"/>
                </a:cubicBezTo>
                <a:close/>
              </a:path>
            </a:pathLst>
          </a:cu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64028" y="3379096"/>
            <a:ext cx="5800165" cy="1347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uá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ình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ao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ư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ao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ổi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ản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ẩm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ã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ình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ành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ối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ên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ết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ữa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ác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ộng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ồng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ư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ân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ệt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ổ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6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Freeform 21"/>
          <p:cNvSpPr/>
          <p:nvPr/>
        </p:nvSpPr>
        <p:spPr>
          <a:xfrm>
            <a:off x="664028" y="5202270"/>
            <a:ext cx="5924204" cy="1253837"/>
          </a:xfrm>
          <a:custGeom>
            <a:avLst/>
            <a:gdLst/>
            <a:ahLst/>
            <a:cxnLst/>
            <a:rect l="l" t="t" r="r" b="b"/>
            <a:pathLst>
              <a:path w="2305254" h="753222">
                <a:moveTo>
                  <a:pt x="2180794" y="753222"/>
                </a:moveTo>
                <a:lnTo>
                  <a:pt x="124460" y="753222"/>
                </a:lnTo>
                <a:cubicBezTo>
                  <a:pt x="55880" y="753222"/>
                  <a:pt x="0" y="697342"/>
                  <a:pt x="0" y="62876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180794" y="0"/>
                </a:lnTo>
                <a:cubicBezTo>
                  <a:pt x="2249374" y="0"/>
                  <a:pt x="2305254" y="55880"/>
                  <a:pt x="2305254" y="124460"/>
                </a:cubicBezTo>
                <a:lnTo>
                  <a:pt x="2305254" y="628762"/>
                </a:lnTo>
                <a:cubicBezTo>
                  <a:pt x="2305254" y="697342"/>
                  <a:pt x="2249374" y="753222"/>
                  <a:pt x="2180794" y="753222"/>
                </a:cubicBezTo>
                <a:close/>
              </a:path>
            </a:pathLst>
          </a:cu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82651" y="5342019"/>
            <a:ext cx="5596249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u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ầu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oàn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ết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ống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goại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xâm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ắp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ê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ị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ủy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4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962304" y="2072422"/>
            <a:ext cx="133081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err="1">
                <a:solidFill>
                  <a:srgbClr val="C00000"/>
                </a:solidFill>
                <a:latin typeface="Times New Roman" panose="02020603050405020304" pitchFamily="18" charset="0"/>
              </a:rPr>
              <a:t>Quý</a:t>
            </a:r>
            <a:r>
              <a:rPr lang="en-US" sz="2800" dirty="0">
                <a:solidFill>
                  <a:srgbClr val="C00000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C00000"/>
                </a:solidFill>
                <a:latin typeface="Times New Roman" panose="02020603050405020304" pitchFamily="18" charset="0"/>
              </a:rPr>
              <a:t>tộc</a:t>
            </a:r>
            <a:endParaRPr lang="en-US" sz="2800" dirty="0">
              <a:solidFill>
                <a:srgbClr val="C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461881" y="3555832"/>
            <a:ext cx="24224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err="1">
                <a:solidFill>
                  <a:srgbClr val="C00000"/>
                </a:solidFill>
                <a:latin typeface="Times New Roman" panose="02020603050405020304" pitchFamily="18" charset="0"/>
              </a:rPr>
              <a:t>Nông</a:t>
            </a:r>
            <a:r>
              <a:rPr lang="en-US" sz="2800" dirty="0">
                <a:solidFill>
                  <a:srgbClr val="C00000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C00000"/>
                </a:solidFill>
                <a:latin typeface="Times New Roman" panose="02020603050405020304" pitchFamily="18" charset="0"/>
              </a:rPr>
              <a:t>dân</a:t>
            </a:r>
            <a:r>
              <a:rPr lang="en-US" sz="2800" dirty="0">
                <a:solidFill>
                  <a:srgbClr val="C00000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C00000"/>
                </a:solidFill>
                <a:latin typeface="Times New Roman" panose="02020603050405020304" pitchFamily="18" charset="0"/>
              </a:rPr>
              <a:t>tự</a:t>
            </a:r>
            <a:r>
              <a:rPr lang="en-US" sz="2800" dirty="0">
                <a:solidFill>
                  <a:srgbClr val="C00000"/>
                </a:solidFill>
                <a:latin typeface="Times New Roman" panose="02020603050405020304" pitchFamily="18" charset="0"/>
              </a:rPr>
              <a:t> do</a:t>
            </a:r>
            <a:endParaRPr lang="en-US" sz="2800" dirty="0">
              <a:solidFill>
                <a:srgbClr val="C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970733" y="5039242"/>
            <a:ext cx="9717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Nô</a:t>
            </a:r>
            <a:r>
              <a:rPr lang="en-US" sz="280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lệ</a:t>
            </a:r>
            <a:endParaRPr lang="en-US" sz="28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85713" y="2108050"/>
            <a:ext cx="1459993" cy="110911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60658" y="3497004"/>
            <a:ext cx="1385048" cy="1180061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55134" y="5001332"/>
            <a:ext cx="1490572" cy="1130528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9605906" y="2662605"/>
            <a:ext cx="21435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Giàu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có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,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thế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lực</a:t>
            </a:r>
            <a:endParaRPr lang="en-US" sz="2400" i="1" dirty="0"/>
          </a:p>
        </p:txBody>
      </p:sp>
      <p:sp>
        <p:nvSpPr>
          <p:cNvPr id="30" name="Rectangle 29"/>
          <p:cNvSpPr/>
          <p:nvPr/>
        </p:nvSpPr>
        <p:spPr>
          <a:xfrm>
            <a:off x="9757431" y="4129183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Chiếm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đa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số</a:t>
            </a:r>
            <a:endParaRPr lang="en-US" sz="2400" i="1" dirty="0"/>
          </a:p>
        </p:txBody>
      </p:sp>
      <p:sp>
        <p:nvSpPr>
          <p:cNvPr id="31" name="Rectangle 30"/>
          <p:cNvSpPr/>
          <p:nvPr/>
        </p:nvSpPr>
        <p:spPr>
          <a:xfrm>
            <a:off x="8653182" y="5598355"/>
            <a:ext cx="34307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Thấp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hèn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,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phục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vụ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quý</a:t>
            </a:r>
            <a:r>
              <a:rPr lang="en-US" sz="24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en-US" sz="2400" i="1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tộc</a:t>
            </a:r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val="1180264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13" grpId="0"/>
      <p:bldP spid="19" grpId="0"/>
      <p:bldP spid="21" grpId="0"/>
      <p:bldP spid="22" grpId="0"/>
      <p:bldP spid="23" grpId="0"/>
      <p:bldP spid="24" grpId="0"/>
      <p:bldP spid="29" grpId="0"/>
      <p:bldP spid="30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hái-quát-nhà-nước-Văn-Lang-BB-_1_">
            <a:hlinkClick r:id="" action="ppaction://media"/>
            <a:extLst>
              <a:ext uri="{FF2B5EF4-FFF2-40B4-BE49-F238E27FC236}">
                <a16:creationId xmlns:a16="http://schemas.microsoft.com/office/drawing/2014/main" id="{C239115A-69CF-479D-AEE7-C8DC46FDC92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32776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312424" y="1369774"/>
            <a:ext cx="6511874" cy="4745786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A242146-403E-49A9-BAA4-AC1E77204C37}"/>
              </a:ext>
            </a:extLst>
          </p:cNvPr>
          <p:cNvSpPr txBox="1"/>
          <p:nvPr/>
        </p:nvSpPr>
        <p:spPr>
          <a:xfrm>
            <a:off x="324989" y="458715"/>
            <a:ext cx="425377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ộ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á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à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156176" y="2488407"/>
            <a:ext cx="4987435" cy="3779758"/>
          </a:xfrm>
          <a:prstGeom prst="wedgeRoundRectCallout">
            <a:avLst>
              <a:gd name="adj1" fmla="val 47062"/>
              <a:gd name="adj2" fmla="val 58493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ã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õ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video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ả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ỏ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a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Lang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à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hoả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ia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à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 Do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á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ậ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i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ô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Lang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ặ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ạ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ứ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ộ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á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Lang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ư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ế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à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ậ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xé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ì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ề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ứ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ộ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á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578765" y="35946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Thành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iểu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5504" y="1589227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ang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D2F524-A2D3-EA0B-267B-1FC6648E2BD8}"/>
              </a:ext>
            </a:extLst>
          </p:cNvPr>
          <p:cNvSpPr/>
          <p:nvPr/>
        </p:nvSpPr>
        <p:spPr>
          <a:xfrm>
            <a:off x="324989" y="924110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xã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46610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386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0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A34DE13-ACEA-49A9-94CB-B2B25B7637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99" t="-1" r="1615" b="167"/>
          <a:stretch/>
        </p:blipFill>
        <p:spPr>
          <a:xfrm>
            <a:off x="6411020" y="633882"/>
            <a:ext cx="5405842" cy="5933896"/>
          </a:xfrm>
          <a:prstGeom prst="triangl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7E1C8CF-D74E-4510-9481-1EDD4133BF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427" y="1728439"/>
            <a:ext cx="6492726" cy="483933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18129" y="1801673"/>
            <a:ext cx="6312286" cy="5204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ang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2652" y="946202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xã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936DB8-4274-4A41-9149-10F06D934B12}"/>
              </a:ext>
            </a:extLst>
          </p:cNvPr>
          <p:cNvSpPr txBox="1"/>
          <p:nvPr/>
        </p:nvSpPr>
        <p:spPr>
          <a:xfrm>
            <a:off x="480677" y="3706455"/>
            <a:ext cx="818148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ế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ỉ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VII TC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669001-D43A-4E62-A000-EED710AE6D27}"/>
              </a:ext>
            </a:extLst>
          </p:cNvPr>
          <p:cNvSpPr txBox="1"/>
          <p:nvPr/>
        </p:nvSpPr>
        <p:spPr>
          <a:xfrm>
            <a:off x="3486462" y="3730021"/>
            <a:ext cx="1047921" cy="15081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ù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ương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F7DBB-14B3-4E19-8EDF-5B4228C84438}"/>
              </a:ext>
            </a:extLst>
          </p:cNvPr>
          <p:cNvSpPr txBox="1"/>
          <p:nvPr/>
        </p:nvSpPr>
        <p:spPr>
          <a:xfrm>
            <a:off x="4769285" y="3971855"/>
            <a:ext cx="1938241" cy="190821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ổ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ứ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ộ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á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Lang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ư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ế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à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267506" y="3312472"/>
            <a:ext cx="796679" cy="3687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ow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936DB8-4274-4A41-9149-10F06D934B12}"/>
              </a:ext>
            </a:extLst>
          </p:cNvPr>
          <p:cNvSpPr txBox="1"/>
          <p:nvPr/>
        </p:nvSpPr>
        <p:spPr>
          <a:xfrm>
            <a:off x="2088131" y="3987244"/>
            <a:ext cx="818148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i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ô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ở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16F3ADD-5C47-474E-8ABA-B1D732F7DA1A}"/>
              </a:ext>
            </a:extLst>
          </p:cNvPr>
          <p:cNvSpPr txBox="1"/>
          <p:nvPr/>
        </p:nvSpPr>
        <p:spPr>
          <a:xfrm>
            <a:off x="1838698" y="3774480"/>
            <a:ext cx="1317014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ho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hú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ọ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2F7DBB-14B3-4E19-8EDF-5B4228C84438}"/>
              </a:ext>
            </a:extLst>
          </p:cNvPr>
          <p:cNvSpPr txBox="1"/>
          <p:nvPr/>
        </p:nvSpPr>
        <p:spPr>
          <a:xfrm>
            <a:off x="4791633" y="3676334"/>
            <a:ext cx="1837494" cy="190821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ộ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á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h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uyê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ế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ơ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iả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ơ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hai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49E8B9-E86E-51F2-FDD5-0E07624C4D41}"/>
              </a:ext>
            </a:extLst>
          </p:cNvPr>
          <p:cNvSpPr/>
          <p:nvPr/>
        </p:nvSpPr>
        <p:spPr>
          <a:xfrm>
            <a:off x="1048869" y="147700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Thành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iểu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731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343340" y="1557712"/>
            <a:ext cx="4955987" cy="721635"/>
          </a:xfrm>
        </p:spPr>
        <p:txBody>
          <a:bodyPr>
            <a:normAutofit/>
          </a:bodyPr>
          <a:lstStyle/>
          <a:p>
            <a:r>
              <a:rPr lang="en-US" sz="260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lang="en-US" sz="2600" dirty="0" err="1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60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r>
              <a:rPr lang="en-US" sz="260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Âu</a:t>
            </a:r>
            <a:r>
              <a:rPr lang="en-US" sz="260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ạc</a:t>
            </a:r>
            <a:endParaRPr lang="en-US" sz="2600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Hào-khí-ngàn-năm-An-Dương-Vương-lập-nước-Âu-Lạc-Video-đã-phát-trên-VTV1-VTV-VN">
            <a:hlinkClick r:id="" action="ppaction://media"/>
            <a:extLst>
              <a:ext uri="{FF2B5EF4-FFF2-40B4-BE49-F238E27FC236}">
                <a16:creationId xmlns:a16="http://schemas.microsoft.com/office/drawing/2014/main" id="{0461D898-1ADB-43E1-AEBF-502655EAB32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>
                  <p14:trim st="23166"/>
                </p14:media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5557761" y="1059891"/>
            <a:ext cx="6517448" cy="4939483"/>
          </a:xfrm>
          <a:prstGeom prst="rect">
            <a:avLst/>
          </a:prstGeom>
        </p:spPr>
      </p:pic>
      <p:grpSp>
        <p:nvGrpSpPr>
          <p:cNvPr id="42" name="Televis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97C986-0069-4EED-A30A-15CB09EC6447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278482" y="5768428"/>
            <a:ext cx="933826" cy="1022008"/>
            <a:chOff x="36" y="13"/>
            <a:chExt cx="413" cy="452"/>
          </a:xfrm>
          <a:solidFill>
            <a:schemeClr val="accent1"/>
          </a:solidFill>
        </p:grpSpPr>
        <p:sp>
          <p:nvSpPr>
            <p:cNvPr id="43" name="Television">
              <a:extLst>
                <a:ext uri="{FF2B5EF4-FFF2-40B4-BE49-F238E27FC236}">
                  <a16:creationId xmlns:a16="http://schemas.microsoft.com/office/drawing/2014/main" id="{B60B8120-9466-4D94-BC96-A53356E5C921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6" y="187"/>
              <a:ext cx="413" cy="278"/>
            </a:xfrm>
            <a:custGeom>
              <a:avLst/>
              <a:gdLst>
                <a:gd name="T0" fmla="*/ 1054 w 1100"/>
                <a:gd name="T1" fmla="*/ 0 h 738"/>
                <a:gd name="T2" fmla="*/ 46 w 1100"/>
                <a:gd name="T3" fmla="*/ 0 h 738"/>
                <a:gd name="T4" fmla="*/ 0 w 1100"/>
                <a:gd name="T5" fmla="*/ 46 h 738"/>
                <a:gd name="T6" fmla="*/ 0 w 1100"/>
                <a:gd name="T7" fmla="*/ 692 h 738"/>
                <a:gd name="T8" fmla="*/ 46 w 1100"/>
                <a:gd name="T9" fmla="*/ 738 h 738"/>
                <a:gd name="T10" fmla="*/ 1054 w 1100"/>
                <a:gd name="T11" fmla="*/ 738 h 738"/>
                <a:gd name="T12" fmla="*/ 1100 w 1100"/>
                <a:gd name="T13" fmla="*/ 692 h 738"/>
                <a:gd name="T14" fmla="*/ 1100 w 1100"/>
                <a:gd name="T15" fmla="*/ 46 h 738"/>
                <a:gd name="T16" fmla="*/ 1054 w 1100"/>
                <a:gd name="T17" fmla="*/ 0 h 738"/>
                <a:gd name="T18" fmla="*/ 802 w 1100"/>
                <a:gd name="T19" fmla="*/ 622 h 738"/>
                <a:gd name="T20" fmla="*/ 483 w 1100"/>
                <a:gd name="T21" fmla="*/ 638 h 738"/>
                <a:gd name="T22" fmla="*/ 119 w 1100"/>
                <a:gd name="T23" fmla="*/ 622 h 738"/>
                <a:gd name="T24" fmla="*/ 91 w 1100"/>
                <a:gd name="T25" fmla="*/ 371 h 738"/>
                <a:gd name="T26" fmla="*/ 119 w 1100"/>
                <a:gd name="T27" fmla="*/ 116 h 738"/>
                <a:gd name="T28" fmla="*/ 486 w 1100"/>
                <a:gd name="T29" fmla="*/ 93 h 738"/>
                <a:gd name="T30" fmla="*/ 802 w 1100"/>
                <a:gd name="T31" fmla="*/ 116 h 738"/>
                <a:gd name="T32" fmla="*/ 828 w 1100"/>
                <a:gd name="T33" fmla="*/ 363 h 738"/>
                <a:gd name="T34" fmla="*/ 802 w 1100"/>
                <a:gd name="T35" fmla="*/ 622 h 738"/>
                <a:gd name="T36" fmla="*/ 1025 w 1100"/>
                <a:gd name="T37" fmla="*/ 605 h 738"/>
                <a:gd name="T38" fmla="*/ 1012 w 1100"/>
                <a:gd name="T39" fmla="*/ 625 h 738"/>
                <a:gd name="T40" fmla="*/ 934 w 1100"/>
                <a:gd name="T41" fmla="*/ 625 h 738"/>
                <a:gd name="T42" fmla="*/ 913 w 1100"/>
                <a:gd name="T43" fmla="*/ 605 h 738"/>
                <a:gd name="T44" fmla="*/ 913 w 1100"/>
                <a:gd name="T45" fmla="*/ 133 h 738"/>
                <a:gd name="T46" fmla="*/ 934 w 1100"/>
                <a:gd name="T47" fmla="*/ 113 h 738"/>
                <a:gd name="T48" fmla="*/ 1012 w 1100"/>
                <a:gd name="T49" fmla="*/ 113 h 738"/>
                <a:gd name="T50" fmla="*/ 1025 w 1100"/>
                <a:gd name="T51" fmla="*/ 133 h 738"/>
                <a:gd name="T52" fmla="*/ 1025 w 1100"/>
                <a:gd name="T53" fmla="*/ 605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00" h="738">
                  <a:moveTo>
                    <a:pt x="1054" y="0"/>
                  </a:moveTo>
                  <a:lnTo>
                    <a:pt x="46" y="0"/>
                  </a:lnTo>
                  <a:cubicBezTo>
                    <a:pt x="21" y="0"/>
                    <a:pt x="0" y="21"/>
                    <a:pt x="0" y="46"/>
                  </a:cubicBezTo>
                  <a:lnTo>
                    <a:pt x="0" y="692"/>
                  </a:lnTo>
                  <a:cubicBezTo>
                    <a:pt x="0" y="717"/>
                    <a:pt x="21" y="738"/>
                    <a:pt x="46" y="738"/>
                  </a:cubicBezTo>
                  <a:lnTo>
                    <a:pt x="1054" y="738"/>
                  </a:lnTo>
                  <a:cubicBezTo>
                    <a:pt x="1079" y="738"/>
                    <a:pt x="1100" y="717"/>
                    <a:pt x="1100" y="692"/>
                  </a:cubicBezTo>
                  <a:lnTo>
                    <a:pt x="1100" y="46"/>
                  </a:lnTo>
                  <a:cubicBezTo>
                    <a:pt x="1100" y="21"/>
                    <a:pt x="1079" y="0"/>
                    <a:pt x="1054" y="0"/>
                  </a:cubicBezTo>
                  <a:close/>
                  <a:moveTo>
                    <a:pt x="802" y="622"/>
                  </a:moveTo>
                  <a:cubicBezTo>
                    <a:pt x="788" y="636"/>
                    <a:pt x="646" y="638"/>
                    <a:pt x="483" y="638"/>
                  </a:cubicBezTo>
                  <a:cubicBezTo>
                    <a:pt x="305" y="638"/>
                    <a:pt x="132" y="635"/>
                    <a:pt x="119" y="622"/>
                  </a:cubicBezTo>
                  <a:cubicBezTo>
                    <a:pt x="105" y="608"/>
                    <a:pt x="91" y="496"/>
                    <a:pt x="91" y="371"/>
                  </a:cubicBezTo>
                  <a:cubicBezTo>
                    <a:pt x="91" y="243"/>
                    <a:pt x="103" y="131"/>
                    <a:pt x="119" y="116"/>
                  </a:cubicBezTo>
                  <a:cubicBezTo>
                    <a:pt x="134" y="100"/>
                    <a:pt x="316" y="93"/>
                    <a:pt x="486" y="93"/>
                  </a:cubicBezTo>
                  <a:cubicBezTo>
                    <a:pt x="658" y="93"/>
                    <a:pt x="790" y="103"/>
                    <a:pt x="802" y="116"/>
                  </a:cubicBezTo>
                  <a:cubicBezTo>
                    <a:pt x="815" y="128"/>
                    <a:pt x="828" y="238"/>
                    <a:pt x="828" y="363"/>
                  </a:cubicBezTo>
                  <a:cubicBezTo>
                    <a:pt x="828" y="491"/>
                    <a:pt x="816" y="608"/>
                    <a:pt x="802" y="622"/>
                  </a:cubicBezTo>
                  <a:close/>
                  <a:moveTo>
                    <a:pt x="1025" y="605"/>
                  </a:moveTo>
                  <a:cubicBezTo>
                    <a:pt x="1025" y="613"/>
                    <a:pt x="1020" y="625"/>
                    <a:pt x="1012" y="625"/>
                  </a:cubicBezTo>
                  <a:lnTo>
                    <a:pt x="934" y="625"/>
                  </a:lnTo>
                  <a:cubicBezTo>
                    <a:pt x="925" y="625"/>
                    <a:pt x="913" y="613"/>
                    <a:pt x="913" y="605"/>
                  </a:cubicBezTo>
                  <a:lnTo>
                    <a:pt x="913" y="133"/>
                  </a:lnTo>
                  <a:cubicBezTo>
                    <a:pt x="913" y="125"/>
                    <a:pt x="925" y="113"/>
                    <a:pt x="934" y="113"/>
                  </a:cubicBezTo>
                  <a:lnTo>
                    <a:pt x="1012" y="113"/>
                  </a:lnTo>
                  <a:cubicBezTo>
                    <a:pt x="1020" y="113"/>
                    <a:pt x="1025" y="125"/>
                    <a:pt x="1025" y="133"/>
                  </a:cubicBezTo>
                  <a:lnTo>
                    <a:pt x="1025" y="6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Television">
              <a:extLst>
                <a:ext uri="{FF2B5EF4-FFF2-40B4-BE49-F238E27FC236}">
                  <a16:creationId xmlns:a16="http://schemas.microsoft.com/office/drawing/2014/main" id="{834BC3C0-8C18-4B1F-9223-DC1AE04ECDB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3" y="241"/>
              <a:ext cx="17" cy="1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Television">
              <a:extLst>
                <a:ext uri="{FF2B5EF4-FFF2-40B4-BE49-F238E27FC236}">
                  <a16:creationId xmlns:a16="http://schemas.microsoft.com/office/drawing/2014/main" id="{C92EA66F-DA6A-4F11-AB20-3F455C0197A4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3" y="265"/>
              <a:ext cx="17" cy="1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Television">
              <a:extLst>
                <a:ext uri="{FF2B5EF4-FFF2-40B4-BE49-F238E27FC236}">
                  <a16:creationId xmlns:a16="http://schemas.microsoft.com/office/drawing/2014/main" id="{B1B405D2-DFD7-4FC7-8495-07F1B5F57629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3" y="289"/>
              <a:ext cx="17" cy="1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Television">
              <a:extLst>
                <a:ext uri="{FF2B5EF4-FFF2-40B4-BE49-F238E27FC236}">
                  <a16:creationId xmlns:a16="http://schemas.microsoft.com/office/drawing/2014/main" id="{04EE491C-D9F7-478B-8864-F3644BC984AC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86" y="329"/>
              <a:ext cx="31" cy="3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Television">
              <a:extLst>
                <a:ext uri="{FF2B5EF4-FFF2-40B4-BE49-F238E27FC236}">
                  <a16:creationId xmlns:a16="http://schemas.microsoft.com/office/drawing/2014/main" id="{113534D7-9F0D-497F-A35E-56EB5E9D2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6" y="380"/>
              <a:ext cx="31" cy="3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levision">
              <a:extLst>
                <a:ext uri="{FF2B5EF4-FFF2-40B4-BE49-F238E27FC236}">
                  <a16:creationId xmlns:a16="http://schemas.microsoft.com/office/drawing/2014/main" id="{8E0A20E2-00BD-4F5F-8381-DE6106E82A5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69" y="150"/>
              <a:ext cx="135" cy="32"/>
            </a:xfrm>
            <a:custGeom>
              <a:avLst/>
              <a:gdLst>
                <a:gd name="T0" fmla="*/ 227 w 358"/>
                <a:gd name="T1" fmla="*/ 6 h 85"/>
                <a:gd name="T2" fmla="*/ 216 w 358"/>
                <a:gd name="T3" fmla="*/ 4 h 85"/>
                <a:gd name="T4" fmla="*/ 179 w 358"/>
                <a:gd name="T5" fmla="*/ 0 h 85"/>
                <a:gd name="T6" fmla="*/ 135 w 358"/>
                <a:gd name="T7" fmla="*/ 5 h 85"/>
                <a:gd name="T8" fmla="*/ 124 w 358"/>
                <a:gd name="T9" fmla="*/ 8 h 85"/>
                <a:gd name="T10" fmla="*/ 0 w 358"/>
                <a:gd name="T11" fmla="*/ 85 h 85"/>
                <a:gd name="T12" fmla="*/ 358 w 358"/>
                <a:gd name="T13" fmla="*/ 85 h 85"/>
                <a:gd name="T14" fmla="*/ 227 w 358"/>
                <a:gd name="T15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8" h="85">
                  <a:moveTo>
                    <a:pt x="227" y="6"/>
                  </a:moveTo>
                  <a:cubicBezTo>
                    <a:pt x="223" y="5"/>
                    <a:pt x="220" y="5"/>
                    <a:pt x="216" y="4"/>
                  </a:cubicBezTo>
                  <a:cubicBezTo>
                    <a:pt x="204" y="2"/>
                    <a:pt x="191" y="0"/>
                    <a:pt x="179" y="0"/>
                  </a:cubicBezTo>
                  <a:cubicBezTo>
                    <a:pt x="164" y="0"/>
                    <a:pt x="149" y="2"/>
                    <a:pt x="135" y="5"/>
                  </a:cubicBezTo>
                  <a:cubicBezTo>
                    <a:pt x="131" y="6"/>
                    <a:pt x="127" y="7"/>
                    <a:pt x="124" y="8"/>
                  </a:cubicBezTo>
                  <a:cubicBezTo>
                    <a:pt x="69" y="24"/>
                    <a:pt x="24" y="35"/>
                    <a:pt x="0" y="85"/>
                  </a:cubicBezTo>
                  <a:lnTo>
                    <a:pt x="358" y="85"/>
                  </a:lnTo>
                  <a:cubicBezTo>
                    <a:pt x="332" y="33"/>
                    <a:pt x="284" y="21"/>
                    <a:pt x="227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Television">
              <a:extLst>
                <a:ext uri="{FF2B5EF4-FFF2-40B4-BE49-F238E27FC236}">
                  <a16:creationId xmlns:a16="http://schemas.microsoft.com/office/drawing/2014/main" id="{25D39809-5262-4398-981F-B1999DD810F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30" y="13"/>
              <a:ext cx="90" cy="137"/>
            </a:xfrm>
            <a:custGeom>
              <a:avLst/>
              <a:gdLst>
                <a:gd name="T0" fmla="*/ 11 w 238"/>
                <a:gd name="T1" fmla="*/ 3 h 363"/>
                <a:gd name="T2" fmla="*/ 3 w 238"/>
                <a:gd name="T3" fmla="*/ 2 h 363"/>
                <a:gd name="T4" fmla="*/ 2 w 238"/>
                <a:gd name="T5" fmla="*/ 9 h 363"/>
                <a:gd name="T6" fmla="*/ 227 w 238"/>
                <a:gd name="T7" fmla="*/ 363 h 363"/>
                <a:gd name="T8" fmla="*/ 238 w 238"/>
                <a:gd name="T9" fmla="*/ 360 h 363"/>
                <a:gd name="T10" fmla="*/ 11 w 238"/>
                <a:gd name="T11" fmla="*/ 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" h="363">
                  <a:moveTo>
                    <a:pt x="11" y="3"/>
                  </a:moveTo>
                  <a:cubicBezTo>
                    <a:pt x="9" y="1"/>
                    <a:pt x="6" y="0"/>
                    <a:pt x="3" y="2"/>
                  </a:cubicBezTo>
                  <a:cubicBezTo>
                    <a:pt x="1" y="3"/>
                    <a:pt x="0" y="7"/>
                    <a:pt x="2" y="9"/>
                  </a:cubicBezTo>
                  <a:lnTo>
                    <a:pt x="227" y="363"/>
                  </a:lnTo>
                  <a:cubicBezTo>
                    <a:pt x="230" y="362"/>
                    <a:pt x="234" y="361"/>
                    <a:pt x="238" y="360"/>
                  </a:cubicBezTo>
                  <a:lnTo>
                    <a:pt x="11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Television">
              <a:extLst>
                <a:ext uri="{FF2B5EF4-FFF2-40B4-BE49-F238E27FC236}">
                  <a16:creationId xmlns:a16="http://schemas.microsoft.com/office/drawing/2014/main" id="{B1CD44C7-FE7B-41D3-B4B2-8797AFF68BD9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50" y="13"/>
              <a:ext cx="91" cy="136"/>
            </a:xfrm>
            <a:custGeom>
              <a:avLst/>
              <a:gdLst>
                <a:gd name="T0" fmla="*/ 239 w 242"/>
                <a:gd name="T1" fmla="*/ 2 h 362"/>
                <a:gd name="T2" fmla="*/ 232 w 242"/>
                <a:gd name="T3" fmla="*/ 4 h 362"/>
                <a:gd name="T4" fmla="*/ 0 w 242"/>
                <a:gd name="T5" fmla="*/ 360 h 362"/>
                <a:gd name="T6" fmla="*/ 11 w 242"/>
                <a:gd name="T7" fmla="*/ 362 h 362"/>
                <a:gd name="T8" fmla="*/ 241 w 242"/>
                <a:gd name="T9" fmla="*/ 9 h 362"/>
                <a:gd name="T10" fmla="*/ 239 w 242"/>
                <a:gd name="T11" fmla="*/ 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" h="362">
                  <a:moveTo>
                    <a:pt x="239" y="2"/>
                  </a:moveTo>
                  <a:cubicBezTo>
                    <a:pt x="236" y="0"/>
                    <a:pt x="233" y="1"/>
                    <a:pt x="232" y="4"/>
                  </a:cubicBezTo>
                  <a:lnTo>
                    <a:pt x="0" y="360"/>
                  </a:lnTo>
                  <a:cubicBezTo>
                    <a:pt x="4" y="360"/>
                    <a:pt x="7" y="361"/>
                    <a:pt x="11" y="362"/>
                  </a:cubicBezTo>
                  <a:lnTo>
                    <a:pt x="241" y="9"/>
                  </a:lnTo>
                  <a:cubicBezTo>
                    <a:pt x="242" y="6"/>
                    <a:pt x="242" y="3"/>
                    <a:pt x="239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694521" y="1029518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xã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ội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ước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EE68C0-54A0-448B-BB9D-DDF480666C28}"/>
              </a:ext>
            </a:extLst>
          </p:cNvPr>
          <p:cNvSpPr txBox="1"/>
          <p:nvPr/>
        </p:nvSpPr>
        <p:spPr>
          <a:xfrm>
            <a:off x="276748" y="2403707"/>
            <a:ext cx="5117564" cy="3684980"/>
          </a:xfrm>
          <a:prstGeom prst="wedgeRoundRectCallout">
            <a:avLst>
              <a:gd name="adj1" fmla="val -6207"/>
              <a:gd name="adj2" fmla="val 58439"/>
              <a:gd name="adj3" fmla="val 16667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ã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õ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GK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ả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ỏ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a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ê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ố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ả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i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ô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ặ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ạ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ê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í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hấ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3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điể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ứ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ỏ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á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i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ướ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Â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o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ớ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uố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i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ă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ng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C777FA-ED64-2608-481A-9D5C525641B6}"/>
              </a:ext>
            </a:extLst>
          </p:cNvPr>
          <p:cNvSpPr/>
          <p:nvPr/>
        </p:nvSpPr>
        <p:spPr>
          <a:xfrm>
            <a:off x="1048869" y="147700"/>
            <a:ext cx="10502153" cy="491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Thành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ự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êu</a:t>
            </a:r>
            <a:r>
              <a:rPr lang="en-US" sz="2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600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iểu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3470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530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Bubbl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rganizational_chart_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levision_POWER_USER_SEPARATOR_ICONS_tv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5.xml><?xml version="1.0" encoding="utf-8"?>
<a:theme xmlns:a="http://schemas.openxmlformats.org/drawingml/2006/main" name="Organic">
  <a:themeElements>
    <a:clrScheme name="Organic">
      <a:dk1>
        <a:sysClr val="windowText" lastClr="000000"/>
      </a:dk1>
      <a:lt1>
        <a:sysClr val="window" lastClr="FFFFFF"/>
      </a:lt1>
      <a:dk2>
        <a:srgbClr val="212121"/>
      </a:dk2>
      <a:lt2>
        <a:srgbClr val="DADADA"/>
      </a:lt2>
      <a:accent1>
        <a:srgbClr val="83992A"/>
      </a:accent1>
      <a:accent2>
        <a:srgbClr val="3C9770"/>
      </a:accent2>
      <a:accent3>
        <a:srgbClr val="44709D"/>
      </a:accent3>
      <a:accent4>
        <a:srgbClr val="A23C33"/>
      </a:accent4>
      <a:accent5>
        <a:srgbClr val="D97828"/>
      </a:accent5>
      <a:accent6>
        <a:srgbClr val="DEB340"/>
      </a:accent6>
      <a:hlink>
        <a:srgbClr val="A8BF4D"/>
      </a:hlink>
      <a:folHlink>
        <a:srgbClr val="B4CA80"/>
      </a:folHlink>
    </a:clrScheme>
    <a:fontScheme name="Organic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 panose="02020404030301010803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rganic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xmlns:r="http://schemas.openxmlformats.org/officeDocument/2006/relationships" r:embed="rId2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ganic" id="{28CDC826-8792-45C0-861B-85EB3ADEDA33}" vid="{7DAC20F1-423D-49E2-BD0B-50532748BAD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7</TotalTime>
  <Words>2404</Words>
  <Application>Microsoft Office PowerPoint</Application>
  <PresentationFormat>Widescreen</PresentationFormat>
  <Paragraphs>258</Paragraphs>
  <Slides>41</Slides>
  <Notes>5</Notes>
  <HiddenSlides>0</HiddenSlides>
  <MMClips>32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41</vt:i4>
      </vt:variant>
    </vt:vector>
  </HeadingPairs>
  <TitlesOfParts>
    <vt:vector size="59" baseType="lpstr">
      <vt:lpstr>#9Slide02 Noi dung dai</vt:lpstr>
      <vt:lpstr>#9Slide02 Tieu de rat dai 01</vt:lpstr>
      <vt:lpstr>Roboto</vt:lpstr>
      <vt:lpstr>Arial</vt:lpstr>
      <vt:lpstr>Calibri</vt:lpstr>
      <vt:lpstr>Calibri Light</vt:lpstr>
      <vt:lpstr>Garamond</vt:lpstr>
      <vt:lpstr>Rockwell</vt:lpstr>
      <vt:lpstr>Rockwell Condensed</vt:lpstr>
      <vt:lpstr>Symbol</vt:lpstr>
      <vt:lpstr>Tahoma</vt:lpstr>
      <vt:lpstr>Times New Roman</vt:lpstr>
      <vt:lpstr>Wingdings</vt:lpstr>
      <vt:lpstr>Custom Design</vt:lpstr>
      <vt:lpstr>2_Custom Design</vt:lpstr>
      <vt:lpstr>1_Custom Design</vt:lpstr>
      <vt:lpstr>Wood Type</vt:lpstr>
      <vt:lpstr>Organic</vt:lpstr>
      <vt:lpstr>PowerPoint Presentation</vt:lpstr>
      <vt:lpstr>KHỞI ĐỘ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* Nhà nước Âu Lạ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FPT SHOP</cp:lastModifiedBy>
  <cp:revision>87</cp:revision>
  <dcterms:created xsi:type="dcterms:W3CDTF">2022-09-16T03:27:16Z</dcterms:created>
  <dcterms:modified xsi:type="dcterms:W3CDTF">2026-05-07T16:28:49Z</dcterms:modified>
</cp:coreProperties>
</file>